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326" r:id="rId2"/>
    <p:sldId id="530" r:id="rId3"/>
    <p:sldId id="549" r:id="rId4"/>
    <p:sldId id="576" r:id="rId5"/>
    <p:sldId id="566" r:id="rId6"/>
    <p:sldId id="571" r:id="rId7"/>
    <p:sldId id="573" r:id="rId8"/>
    <p:sldId id="577" r:id="rId9"/>
    <p:sldId id="578" r:id="rId10"/>
    <p:sldId id="579" r:id="rId11"/>
    <p:sldId id="580" r:id="rId12"/>
  </p:sldIdLst>
  <p:sldSz cx="9144000" cy="6858000" type="screen4x3"/>
  <p:notesSz cx="4565650" cy="6797675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38BF42AA-1D6E-4C7E-B49E-F263C1F33CFC}">
          <p14:sldIdLst>
            <p14:sldId id="326"/>
            <p14:sldId id="530"/>
            <p14:sldId id="549"/>
            <p14:sldId id="576"/>
            <p14:sldId id="566"/>
            <p14:sldId id="571"/>
            <p14:sldId id="573"/>
            <p14:sldId id="577"/>
            <p14:sldId id="578"/>
            <p14:sldId id="579"/>
            <p14:sldId id="580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E0E"/>
    <a:srgbClr val="516529"/>
    <a:srgbClr val="6B8537"/>
    <a:srgbClr val="FFCC66"/>
    <a:srgbClr val="642F04"/>
    <a:srgbClr val="007A00"/>
    <a:srgbClr val="4C3114"/>
    <a:srgbClr val="37210F"/>
    <a:srgbClr val="262626"/>
    <a:srgbClr val="1834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799" autoAdjust="0"/>
    <p:restoredTop sz="81486" autoAdjust="0"/>
  </p:normalViewPr>
  <p:slideViewPr>
    <p:cSldViewPr>
      <p:cViewPr>
        <p:scale>
          <a:sx n="100" d="100"/>
          <a:sy n="100" d="100"/>
        </p:scale>
        <p:origin x="-1552" y="-8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8" y="0"/>
    </p:cViewPr>
  </p:outlineViewPr>
  <p:notesTextViewPr>
    <p:cViewPr>
      <p:scale>
        <a:sx n="200" d="100"/>
        <a:sy n="2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printerSettings" Target="printerSettings/printerSettings1.bin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4" y="4"/>
            <a:ext cx="1978449" cy="339884"/>
          </a:xfrm>
          <a:prstGeom prst="rect">
            <a:avLst/>
          </a:prstGeom>
        </p:spPr>
        <p:txBody>
          <a:bodyPr vert="horz" lIns="64988" tIns="32493" rIns="64988" bIns="32493" rtlCol="0"/>
          <a:lstStyle>
            <a:lvl1pPr algn="l">
              <a:defRPr sz="800"/>
            </a:lvl1pPr>
          </a:lstStyle>
          <a:p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2586150" y="4"/>
            <a:ext cx="1978449" cy="339884"/>
          </a:xfrm>
          <a:prstGeom prst="rect">
            <a:avLst/>
          </a:prstGeom>
        </p:spPr>
        <p:txBody>
          <a:bodyPr vert="horz" lIns="64988" tIns="32493" rIns="64988" bIns="32493" rtlCol="0"/>
          <a:lstStyle>
            <a:lvl1pPr algn="r">
              <a:defRPr sz="800"/>
            </a:lvl1pPr>
          </a:lstStyle>
          <a:p>
            <a:fld id="{B645B28B-C8AB-4EA0-9B89-FECED512104B}" type="datetimeFigureOut">
              <a:rPr lang="es-MX" smtClean="0"/>
              <a:t>4/26/15</a:t>
            </a:fld>
            <a:endParaRPr lang="es-MX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584200" y="509588"/>
            <a:ext cx="3397250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4988" tIns="32493" rIns="64988" bIns="32493" rtlCol="0" anchor="ctr"/>
          <a:lstStyle/>
          <a:p>
            <a:endParaRPr lang="es-MX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456566" y="3228897"/>
            <a:ext cx="3652520" cy="3058954"/>
          </a:xfrm>
          <a:prstGeom prst="rect">
            <a:avLst/>
          </a:prstGeom>
        </p:spPr>
        <p:txBody>
          <a:bodyPr vert="horz" lIns="64988" tIns="32493" rIns="64988" bIns="32493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4" y="6456613"/>
            <a:ext cx="1978449" cy="339884"/>
          </a:xfrm>
          <a:prstGeom prst="rect">
            <a:avLst/>
          </a:prstGeom>
        </p:spPr>
        <p:txBody>
          <a:bodyPr vert="horz" lIns="64988" tIns="32493" rIns="64988" bIns="32493" rtlCol="0" anchor="b"/>
          <a:lstStyle>
            <a:lvl1pPr algn="l">
              <a:defRPr sz="800"/>
            </a:lvl1pPr>
          </a:lstStyle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2586150" y="6456613"/>
            <a:ext cx="1978449" cy="339884"/>
          </a:xfrm>
          <a:prstGeom prst="rect">
            <a:avLst/>
          </a:prstGeom>
        </p:spPr>
        <p:txBody>
          <a:bodyPr vert="horz" lIns="64988" tIns="32493" rIns="64988" bIns="32493" rtlCol="0" anchor="b"/>
          <a:lstStyle>
            <a:lvl1pPr algn="r">
              <a:defRPr sz="800"/>
            </a:lvl1pPr>
          </a:lstStyle>
          <a:p>
            <a:fld id="{4FA94ABF-0FE6-4437-8243-579DF6A97B9E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05496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A94ABF-0FE6-4437-8243-579DF6A97B9E}" type="slidenum">
              <a:rPr lang="es-MX" smtClean="0"/>
              <a:t>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342670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98022" indent="-398022">
              <a:lnSpc>
                <a:spcPts val="1812"/>
              </a:lnSpc>
              <a:buFont typeface="Wingdings" panose="05000000000000000000" pitchFamily="2" charset="2"/>
              <a:buChar char="§"/>
            </a:pPr>
            <a:r>
              <a:rPr lang="en-GB" cap="small" dirty="0" smtClean="0">
                <a:latin typeface="Times New Roman"/>
                <a:cs typeface="Times New Roman"/>
              </a:rPr>
              <a:t>Nuevo </a:t>
            </a:r>
            <a:r>
              <a:rPr lang="en-GB" cap="small" dirty="0" err="1" smtClean="0">
                <a:latin typeface="Times New Roman"/>
                <a:cs typeface="Times New Roman"/>
              </a:rPr>
              <a:t>mercado</a:t>
            </a:r>
            <a:r>
              <a:rPr lang="en-GB" cap="small" dirty="0" smtClean="0">
                <a:latin typeface="Times New Roman"/>
                <a:cs typeface="Times New Roman"/>
              </a:rPr>
              <a:t> </a:t>
            </a:r>
            <a:r>
              <a:rPr lang="en-GB" cap="small" dirty="0" err="1" smtClean="0">
                <a:latin typeface="Times New Roman"/>
                <a:cs typeface="Times New Roman"/>
              </a:rPr>
              <a:t>eléctrico</a:t>
            </a:r>
            <a:endParaRPr lang="en-GB" cap="small" dirty="0" smtClean="0">
              <a:latin typeface="Times New Roman"/>
              <a:cs typeface="Times New Roman"/>
            </a:endParaRPr>
          </a:p>
          <a:p>
            <a:pPr marL="398022" indent="-398022">
              <a:lnSpc>
                <a:spcPts val="1812"/>
              </a:lnSpc>
              <a:buFont typeface="Wingdings" panose="05000000000000000000" pitchFamily="2" charset="2"/>
              <a:buChar char="§"/>
            </a:pPr>
            <a:r>
              <a:rPr lang="en-GB" cap="small" dirty="0" err="1" smtClean="0">
                <a:latin typeface="Times New Roman"/>
                <a:cs typeface="Times New Roman"/>
              </a:rPr>
              <a:t>Separación</a:t>
            </a:r>
            <a:r>
              <a:rPr lang="en-GB" cap="small" dirty="0" smtClean="0">
                <a:latin typeface="Times New Roman"/>
                <a:cs typeface="Times New Roman"/>
              </a:rPr>
              <a:t> vertical</a:t>
            </a:r>
          </a:p>
          <a:p>
            <a:pPr marL="566076" lvl="1" indent="-150363">
              <a:lnSpc>
                <a:spcPts val="1812"/>
              </a:lnSpc>
              <a:buFont typeface="Wingdings" panose="05000000000000000000" pitchFamily="2" charset="2"/>
              <a:buChar char="§"/>
            </a:pPr>
            <a:r>
              <a:rPr lang="en-GB" cap="small" dirty="0" smtClean="0">
                <a:latin typeface="Times New Roman"/>
                <a:cs typeface="Times New Roman"/>
              </a:rPr>
              <a:t>Individuals are granted the right to generate and sell electricity, with state regulation</a:t>
            </a:r>
            <a:endParaRPr lang="es-MX" cap="small" dirty="0" smtClean="0">
              <a:latin typeface="Times New Roman"/>
              <a:cs typeface="Times New Roman"/>
            </a:endParaRPr>
          </a:p>
          <a:p>
            <a:pPr marL="566076" lvl="1" indent="-150363">
              <a:lnSpc>
                <a:spcPts val="1812"/>
              </a:lnSpc>
              <a:buFont typeface="Wingdings" panose="05000000000000000000" pitchFamily="2" charset="2"/>
              <a:buChar char="§"/>
            </a:pPr>
            <a:r>
              <a:rPr lang="en-GB" altLang="ja-JP" cap="small" dirty="0" smtClean="0">
                <a:latin typeface="Times New Roman"/>
                <a:cs typeface="Times New Roman"/>
              </a:rPr>
              <a:t>The private sector may participate in transmission and distribution of electricity, through a system of contracts with CFE</a:t>
            </a:r>
            <a:endParaRPr lang="es-MX" sz="17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A94ABF-0FE6-4437-8243-579DF6A97B9E}" type="slidenum">
              <a:rPr lang="es-MX" smtClean="0"/>
              <a:t>3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1420696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A94ABF-0FE6-4437-8243-579DF6A97B9E}" type="slidenum">
              <a:rPr lang="es-MX" smtClean="0"/>
              <a:t>4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1420696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A94ABF-0FE6-4437-8243-579DF6A97B9E}" type="slidenum">
              <a:rPr lang="es-MX" smtClean="0"/>
              <a:t>5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1420696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84200" y="509588"/>
            <a:ext cx="3397250" cy="254793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7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MX" smtClean="0"/>
          </a:p>
        </p:txBody>
      </p:sp>
      <p:sp>
        <p:nvSpPr>
          <p:cNvPr id="21508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6E3DE64-A394-4A78-81C3-A8018E5727A5}" type="slidenum">
              <a:rPr lang="es-MX" smtClean="0"/>
              <a:pPr/>
              <a:t>10</a:t>
            </a:fld>
            <a:endParaRPr lang="es-MX" smtClean="0"/>
          </a:p>
        </p:txBody>
      </p:sp>
    </p:spTree>
    <p:extLst>
      <p:ext uri="{BB962C8B-B14F-4D97-AF65-F5344CB8AC3E}">
        <p14:creationId xmlns:p14="http://schemas.microsoft.com/office/powerpoint/2010/main" val="3298417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3AAA50-9058-4EA7-ABF2-7ABE905A44CA}" type="datetime1">
              <a:rPr lang="es-MX" smtClean="0"/>
              <a:t>4/26/15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50B3BD-96C4-491F-B9AF-A33AF079A4D1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0617843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E9679-4FE2-4F54-B0B7-234F80EBEE6E}" type="datetime1">
              <a:rPr lang="es-MX" smtClean="0"/>
              <a:t>4/26/15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50B3BD-96C4-491F-B9AF-A33AF079A4D1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2925524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AF2F0-EE4B-44B8-A389-89BFD0FB0498}" type="datetime1">
              <a:rPr lang="es-MX" smtClean="0"/>
              <a:t>4/26/15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50B3BD-96C4-491F-B9AF-A33AF079A4D1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9487735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46509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1E900A-64A3-4173-9139-29ED88C034FD}" type="datetime1">
              <a:rPr lang="es-MX" smtClean="0"/>
              <a:t>4/26/15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50B3BD-96C4-491F-B9AF-A33AF079A4D1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6352525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A8022A-9CD9-4787-B309-A19F7C5E8852}" type="datetime1">
              <a:rPr lang="es-MX" smtClean="0"/>
              <a:t>4/26/15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50B3BD-96C4-491F-B9AF-A33AF079A4D1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112688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A9CE6-0BF7-4B9A-93F0-4BDE98A75D41}" type="datetime1">
              <a:rPr lang="es-MX" smtClean="0"/>
              <a:t>4/26/15</a:t>
            </a:fld>
            <a:endParaRPr lang="es-MX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50B3BD-96C4-491F-B9AF-A33AF079A4D1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4170305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4C0A7-1826-40A5-BE53-E88451B553CA}" type="datetime1">
              <a:rPr lang="es-MX" smtClean="0"/>
              <a:t>4/26/15</a:t>
            </a:fld>
            <a:endParaRPr lang="es-MX" dirty="0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50B3BD-96C4-491F-B9AF-A33AF079A4D1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171961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25FC1-318A-46DF-8669-362811CE2EDF}" type="datetime1">
              <a:rPr lang="es-MX" smtClean="0"/>
              <a:t>4/26/15</a:t>
            </a:fld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50B3BD-96C4-491F-B9AF-A33AF079A4D1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0063380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E78F2-1931-44C8-89F9-5773BFD26B54}" type="datetime1">
              <a:rPr lang="es-MX" smtClean="0"/>
              <a:t>4/26/15</a:t>
            </a:fld>
            <a:endParaRPr lang="es-MX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50B3BD-96C4-491F-B9AF-A33AF079A4D1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5131212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D5864-696F-4621-99DD-71FD233BA30F}" type="datetime1">
              <a:rPr lang="es-MX" smtClean="0"/>
              <a:t>4/26/15</a:t>
            </a:fld>
            <a:endParaRPr lang="es-MX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50B3BD-96C4-491F-B9AF-A33AF079A4D1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4144390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dirty="0" smtClean="0"/>
              <a:t>Haga clic en el icono para agregar una imagen</a:t>
            </a:r>
            <a:endParaRPr lang="es-MX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8046D9-A18E-41D3-9AC4-C383F96E4F62}" type="datetime1">
              <a:rPr lang="es-MX" smtClean="0"/>
              <a:t>4/26/15</a:t>
            </a:fld>
            <a:endParaRPr lang="es-MX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50B3BD-96C4-491F-B9AF-A33AF079A4D1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2403644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0"/>
            <a:ext cx="9180512" cy="6861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D50192-A1FC-448B-8F05-5927F2CBCB03}" type="datetime1">
              <a:rPr lang="es-MX" smtClean="0"/>
              <a:t>4/26/15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50B3BD-96C4-491F-B9AF-A33AF079A4D1}" type="slidenum">
              <a:rPr lang="es-MX" smtClean="0"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190124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6" Type="http://schemas.openxmlformats.org/officeDocument/2006/relationships/image" Target="../media/image5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Layout" Target="../slideLayouts/slideLayout7.xml"/><Relationship Id="rId3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75"/>
          <a:stretch/>
        </p:blipFill>
        <p:spPr bwMode="auto">
          <a:xfrm>
            <a:off x="27029" y="1100031"/>
            <a:ext cx="9036496" cy="503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2 Subtítulo"/>
          <p:cNvSpPr txBox="1">
            <a:spLocks/>
          </p:cNvSpPr>
          <p:nvPr/>
        </p:nvSpPr>
        <p:spPr>
          <a:xfrm>
            <a:off x="827584" y="3654519"/>
            <a:ext cx="7632848" cy="7105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/>
              <a:t> </a:t>
            </a:r>
            <a:r>
              <a:rPr lang="es-MX" sz="1600" cap="smal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Segoe UI" pitchFamily="34" charset="0"/>
                <a:cs typeface="Times New Roman" pitchFamily="18" charset="0"/>
              </a:rPr>
              <a:t>Leonardo Beltran</a:t>
            </a:r>
            <a:endParaRPr lang="es-MX" sz="1600" cap="small" dirty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ea typeface="Segoe UI" pitchFamily="34" charset="0"/>
              <a:cs typeface="Times New Roman" pitchFamily="18" charset="0"/>
            </a:endParaRPr>
          </a:p>
          <a:p>
            <a:pPr>
              <a:lnSpc>
                <a:spcPts val="2300"/>
              </a:lnSpc>
            </a:pPr>
            <a:r>
              <a:rPr lang="en-GB" sz="1400" cap="smal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Segoe UI" pitchFamily="34" charset="0"/>
                <a:cs typeface="Times New Roman" pitchFamily="18" charset="0"/>
              </a:rPr>
              <a:t>Deputy Minister for Planning and Energy Transition of Mexico</a:t>
            </a:r>
          </a:p>
        </p:txBody>
      </p:sp>
      <p:sp>
        <p:nvSpPr>
          <p:cNvPr id="5" name="2 Subtítulo"/>
          <p:cNvSpPr txBox="1">
            <a:spLocks/>
          </p:cNvSpPr>
          <p:nvPr/>
        </p:nvSpPr>
        <p:spPr>
          <a:xfrm>
            <a:off x="395536" y="2564904"/>
            <a:ext cx="8496944" cy="5040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500"/>
              </a:lnSpc>
            </a:pPr>
            <a:r>
              <a:rPr lang="en-US" sz="2800" b="1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Segoe UI" pitchFamily="34" charset="0"/>
                <a:cs typeface="Times New Roman" pitchFamily="18" charset="0"/>
              </a:rPr>
              <a:t>Mexican Energy </a:t>
            </a:r>
            <a:r>
              <a:rPr lang="en-US" sz="2800" b="1" cap="smal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Segoe UI" pitchFamily="34" charset="0"/>
                <a:cs typeface="Times New Roman" pitchFamily="18" charset="0"/>
              </a:rPr>
              <a:t>Reform</a:t>
            </a:r>
          </a:p>
        </p:txBody>
      </p:sp>
    </p:spTree>
    <p:extLst>
      <p:ext uri="{BB962C8B-B14F-4D97-AF65-F5344CB8AC3E}">
        <p14:creationId xmlns:p14="http://schemas.microsoft.com/office/powerpoint/2010/main" val="309134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/>
          <p:cNvGrpSpPr/>
          <p:nvPr/>
        </p:nvGrpSpPr>
        <p:grpSpPr>
          <a:xfrm>
            <a:off x="3061286" y="2852936"/>
            <a:ext cx="1800524" cy="2340000"/>
            <a:chOff x="9072472" y="1268760"/>
            <a:chExt cx="1800524" cy="2340000"/>
          </a:xfrm>
        </p:grpSpPr>
        <p:sp>
          <p:nvSpPr>
            <p:cNvPr id="40" name="Rectángulo 39"/>
            <p:cNvSpPr/>
            <p:nvPr/>
          </p:nvSpPr>
          <p:spPr>
            <a:xfrm>
              <a:off x="9072472" y="1268760"/>
              <a:ext cx="900128" cy="2340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8" name="Rectángulo 37"/>
            <p:cNvSpPr/>
            <p:nvPr/>
          </p:nvSpPr>
          <p:spPr>
            <a:xfrm>
              <a:off x="9972600" y="1268760"/>
              <a:ext cx="900396" cy="2327888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5" name="CuadroTexto 4"/>
          <p:cNvSpPr txBox="1"/>
          <p:nvPr/>
        </p:nvSpPr>
        <p:spPr>
          <a:xfrm>
            <a:off x="1378365" y="1196752"/>
            <a:ext cx="657801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cap="small" dirty="0" smtClean="0">
                <a:latin typeface="Times New Roman"/>
                <a:cs typeface="Times New Roman"/>
              </a:rPr>
              <a:t>Conditional target </a:t>
            </a:r>
            <a:r>
              <a:rPr lang="en-US" b="1" cap="small" dirty="0" smtClean="0">
                <a:latin typeface="Times New Roman"/>
                <a:cs typeface="Times New Roman"/>
              </a:rPr>
              <a:t>2020 and 2050</a:t>
            </a:r>
          </a:p>
          <a:p>
            <a:pPr algn="ctr"/>
            <a:r>
              <a:rPr lang="en-US" sz="1400" cap="small" dirty="0" smtClean="0">
                <a:latin typeface="Times New Roman"/>
                <a:cs typeface="Times New Roman"/>
              </a:rPr>
              <a:t>Estimated emissions theoretical road map</a:t>
            </a:r>
            <a:endParaRPr lang="en-US" sz="1400" cap="small" dirty="0">
              <a:latin typeface="Times New Roman"/>
              <a:cs typeface="Times New Roman"/>
            </a:endParaRPr>
          </a:p>
        </p:txBody>
      </p:sp>
      <p:cxnSp>
        <p:nvCxnSpPr>
          <p:cNvPr id="73" name="Conector recto 72"/>
          <p:cNvCxnSpPr/>
          <p:nvPr/>
        </p:nvCxnSpPr>
        <p:spPr>
          <a:xfrm>
            <a:off x="2733018" y="3717157"/>
            <a:ext cx="0" cy="2952131"/>
          </a:xfrm>
          <a:prstGeom prst="line">
            <a:avLst/>
          </a:prstGeom>
          <a:ln w="6350" cmpd="sng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1" name="Forma libre 80"/>
          <p:cNvSpPr/>
          <p:nvPr/>
        </p:nvSpPr>
        <p:spPr>
          <a:xfrm>
            <a:off x="2172802" y="3285332"/>
            <a:ext cx="892098" cy="881687"/>
          </a:xfrm>
          <a:custGeom>
            <a:avLst/>
            <a:gdLst>
              <a:gd name="connsiteX0" fmla="*/ 892098 w 892098"/>
              <a:gd name="connsiteY0" fmla="*/ 881687 h 881687"/>
              <a:gd name="connsiteX1" fmla="*/ 892098 w 892098"/>
              <a:gd name="connsiteY1" fmla="*/ 0 h 881687"/>
              <a:gd name="connsiteX2" fmla="*/ 0 w 892098"/>
              <a:gd name="connsiteY2" fmla="*/ 493325 h 881687"/>
              <a:gd name="connsiteX3" fmla="*/ 440801 w 892098"/>
              <a:gd name="connsiteY3" fmla="*/ 388362 h 881687"/>
              <a:gd name="connsiteX4" fmla="*/ 587735 w 892098"/>
              <a:gd name="connsiteY4" fmla="*/ 419851 h 881687"/>
              <a:gd name="connsiteX5" fmla="*/ 692688 w 892098"/>
              <a:gd name="connsiteY5" fmla="*/ 482829 h 881687"/>
              <a:gd name="connsiteX6" fmla="*/ 755659 w 892098"/>
              <a:gd name="connsiteY6" fmla="*/ 661265 h 881687"/>
              <a:gd name="connsiteX7" fmla="*/ 829126 w 892098"/>
              <a:gd name="connsiteY7" fmla="*/ 808213 h 881687"/>
              <a:gd name="connsiteX8" fmla="*/ 892098 w 892098"/>
              <a:gd name="connsiteY8" fmla="*/ 881687 h 881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2098" h="881687">
                <a:moveTo>
                  <a:pt x="892098" y="881687"/>
                </a:moveTo>
                <a:lnTo>
                  <a:pt x="892098" y="0"/>
                </a:lnTo>
                <a:lnTo>
                  <a:pt x="0" y="493325"/>
                </a:lnTo>
                <a:lnTo>
                  <a:pt x="440801" y="388362"/>
                </a:lnTo>
                <a:lnTo>
                  <a:pt x="587735" y="419851"/>
                </a:lnTo>
                <a:lnTo>
                  <a:pt x="692688" y="482829"/>
                </a:lnTo>
                <a:lnTo>
                  <a:pt x="755659" y="661265"/>
                </a:lnTo>
                <a:lnTo>
                  <a:pt x="829126" y="808213"/>
                </a:lnTo>
                <a:lnTo>
                  <a:pt x="892098" y="881687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72" name="Conector recto 71"/>
          <p:cNvCxnSpPr/>
          <p:nvPr/>
        </p:nvCxnSpPr>
        <p:spPr>
          <a:xfrm>
            <a:off x="8411155" y="3724600"/>
            <a:ext cx="0" cy="1440136"/>
          </a:xfrm>
          <a:prstGeom prst="line">
            <a:avLst/>
          </a:prstGeom>
          <a:ln w="9525" cmpd="sng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23"/>
          <p:cNvCxnSpPr/>
          <p:nvPr/>
        </p:nvCxnSpPr>
        <p:spPr>
          <a:xfrm rot="5400000">
            <a:off x="5085917" y="1055928"/>
            <a:ext cx="0" cy="7200272"/>
          </a:xfrm>
          <a:prstGeom prst="line">
            <a:avLst/>
          </a:prstGeom>
          <a:ln w="6350" cmpd="sng">
            <a:solidFill>
              <a:srgbClr val="008000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7" name="Agrupar 66"/>
          <p:cNvGrpSpPr/>
          <p:nvPr/>
        </p:nvGrpSpPr>
        <p:grpSpPr>
          <a:xfrm>
            <a:off x="1157880" y="5157192"/>
            <a:ext cx="7590584" cy="408388"/>
            <a:chOff x="1084131" y="5157192"/>
            <a:chExt cx="7590584" cy="408388"/>
          </a:xfrm>
        </p:grpSpPr>
        <p:grpSp>
          <p:nvGrpSpPr>
            <p:cNvPr id="46" name="Agrupar 45"/>
            <p:cNvGrpSpPr/>
            <p:nvPr/>
          </p:nvGrpSpPr>
          <p:grpSpPr>
            <a:xfrm>
              <a:off x="1406683" y="5157192"/>
              <a:ext cx="6948269" cy="108000"/>
              <a:chOff x="1406683" y="5157192"/>
              <a:chExt cx="6948269" cy="108000"/>
            </a:xfrm>
          </p:grpSpPr>
          <p:cxnSp>
            <p:nvCxnSpPr>
              <p:cNvPr id="14" name="Conector recto 13"/>
              <p:cNvCxnSpPr/>
              <p:nvPr/>
            </p:nvCxnSpPr>
            <p:spPr>
              <a:xfrm rot="5400000">
                <a:off x="4880818" y="1683058"/>
                <a:ext cx="0" cy="6948269"/>
              </a:xfrm>
              <a:prstGeom prst="line">
                <a:avLst/>
              </a:prstGeom>
              <a:ln w="12700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4" name="Agrupar 43"/>
              <p:cNvGrpSpPr/>
              <p:nvPr/>
            </p:nvGrpSpPr>
            <p:grpSpPr>
              <a:xfrm>
                <a:off x="2123728" y="5157192"/>
                <a:ext cx="6215732" cy="108000"/>
                <a:chOff x="2123728" y="5157192"/>
                <a:chExt cx="6215732" cy="108000"/>
              </a:xfrm>
            </p:grpSpPr>
            <p:cxnSp>
              <p:nvCxnSpPr>
                <p:cNvPr id="28" name="Conector recto 27"/>
                <p:cNvCxnSpPr/>
                <p:nvPr/>
              </p:nvCxnSpPr>
              <p:spPr>
                <a:xfrm>
                  <a:off x="2123728" y="5157192"/>
                  <a:ext cx="0" cy="108000"/>
                </a:xfrm>
                <a:prstGeom prst="line">
                  <a:avLst/>
                </a:prstGeom>
                <a:ln w="12700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Conector recto 28"/>
                <p:cNvCxnSpPr/>
                <p:nvPr/>
              </p:nvCxnSpPr>
              <p:spPr>
                <a:xfrm>
                  <a:off x="3004652" y="5157192"/>
                  <a:ext cx="0" cy="108000"/>
                </a:xfrm>
                <a:prstGeom prst="line">
                  <a:avLst/>
                </a:prstGeom>
                <a:ln w="12700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Conector recto 29"/>
                <p:cNvCxnSpPr/>
                <p:nvPr/>
              </p:nvCxnSpPr>
              <p:spPr>
                <a:xfrm>
                  <a:off x="3905459" y="5157192"/>
                  <a:ext cx="0" cy="108000"/>
                </a:xfrm>
                <a:prstGeom prst="line">
                  <a:avLst/>
                </a:prstGeom>
                <a:ln w="12700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Conector recto 30"/>
                <p:cNvCxnSpPr/>
                <p:nvPr/>
              </p:nvCxnSpPr>
              <p:spPr>
                <a:xfrm>
                  <a:off x="4786824" y="5157192"/>
                  <a:ext cx="0" cy="108000"/>
                </a:xfrm>
                <a:prstGeom prst="line">
                  <a:avLst/>
                </a:prstGeom>
                <a:ln w="12700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Conector recto 31"/>
                <p:cNvCxnSpPr/>
                <p:nvPr/>
              </p:nvCxnSpPr>
              <p:spPr>
                <a:xfrm>
                  <a:off x="5683605" y="5157192"/>
                  <a:ext cx="0" cy="108000"/>
                </a:xfrm>
                <a:prstGeom prst="line">
                  <a:avLst/>
                </a:prstGeom>
                <a:ln w="12700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Conector recto 34"/>
                <p:cNvCxnSpPr/>
                <p:nvPr/>
              </p:nvCxnSpPr>
              <p:spPr>
                <a:xfrm>
                  <a:off x="6573358" y="5157192"/>
                  <a:ext cx="0" cy="108000"/>
                </a:xfrm>
                <a:prstGeom prst="line">
                  <a:avLst/>
                </a:prstGeom>
                <a:ln w="12700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Conector recto 36"/>
                <p:cNvCxnSpPr/>
                <p:nvPr/>
              </p:nvCxnSpPr>
              <p:spPr>
                <a:xfrm>
                  <a:off x="7454288" y="5157192"/>
                  <a:ext cx="0" cy="108000"/>
                </a:xfrm>
                <a:prstGeom prst="line">
                  <a:avLst/>
                </a:prstGeom>
                <a:ln w="12700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Conector recto 38"/>
                <p:cNvCxnSpPr/>
                <p:nvPr/>
              </p:nvCxnSpPr>
              <p:spPr>
                <a:xfrm>
                  <a:off x="8339460" y="5157192"/>
                  <a:ext cx="0" cy="108000"/>
                </a:xfrm>
                <a:prstGeom prst="line">
                  <a:avLst/>
                </a:prstGeom>
                <a:ln w="12700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47" name="CuadroTexto 46"/>
            <p:cNvSpPr txBox="1"/>
            <p:nvPr/>
          </p:nvSpPr>
          <p:spPr>
            <a:xfrm>
              <a:off x="1084131" y="5196248"/>
              <a:ext cx="65264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/>
                  <a:cs typeface="Times New Roman"/>
                </a:rPr>
                <a:t>2010</a:t>
              </a:r>
              <a:endParaRPr lang="es-ES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48" name="CuadroTexto 47"/>
            <p:cNvSpPr txBox="1"/>
            <p:nvPr/>
          </p:nvSpPr>
          <p:spPr>
            <a:xfrm>
              <a:off x="1795173" y="5196248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/>
                  <a:cs typeface="Times New Roman"/>
                </a:rPr>
                <a:t>2015</a:t>
              </a:r>
              <a:endParaRPr lang="es-ES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49" name="CuadroTexto 48"/>
            <p:cNvSpPr txBox="1"/>
            <p:nvPr/>
          </p:nvSpPr>
          <p:spPr>
            <a:xfrm>
              <a:off x="5365545" y="5196248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/>
                  <a:cs typeface="Times New Roman"/>
                </a:rPr>
                <a:t>2035</a:t>
              </a:r>
              <a:endParaRPr lang="es-ES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50" name="CuadroTexto 49"/>
            <p:cNvSpPr txBox="1"/>
            <p:nvPr/>
          </p:nvSpPr>
          <p:spPr>
            <a:xfrm>
              <a:off x="6249174" y="5196248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/>
                  <a:cs typeface="Times New Roman"/>
                </a:rPr>
                <a:t>2040</a:t>
              </a:r>
              <a:endParaRPr lang="es-ES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51" name="CuadroTexto 50"/>
            <p:cNvSpPr txBox="1"/>
            <p:nvPr/>
          </p:nvSpPr>
          <p:spPr>
            <a:xfrm>
              <a:off x="7123765" y="5196248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/>
                  <a:cs typeface="Times New Roman"/>
                </a:rPr>
                <a:t>2045</a:t>
              </a:r>
              <a:endParaRPr lang="es-ES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52" name="CuadroTexto 51"/>
            <p:cNvSpPr txBox="1"/>
            <p:nvPr/>
          </p:nvSpPr>
          <p:spPr>
            <a:xfrm>
              <a:off x="8028384" y="5196248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/>
                  <a:cs typeface="Times New Roman"/>
                </a:rPr>
                <a:t>2050</a:t>
              </a:r>
              <a:endParaRPr lang="es-ES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54" name="CuadroTexto 53"/>
            <p:cNvSpPr txBox="1"/>
            <p:nvPr/>
          </p:nvSpPr>
          <p:spPr>
            <a:xfrm>
              <a:off x="4468507" y="5196248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/>
                  <a:cs typeface="Times New Roman"/>
                </a:rPr>
                <a:t>2030</a:t>
              </a:r>
              <a:endParaRPr lang="es-ES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55" name="CuadroTexto 54"/>
            <p:cNvSpPr txBox="1"/>
            <p:nvPr/>
          </p:nvSpPr>
          <p:spPr>
            <a:xfrm>
              <a:off x="3583421" y="5196248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/>
                  <a:cs typeface="Times New Roman"/>
                </a:rPr>
                <a:t>2025</a:t>
              </a:r>
              <a:endParaRPr lang="es-ES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56" name="CuadroTexto 55"/>
            <p:cNvSpPr txBox="1"/>
            <p:nvPr/>
          </p:nvSpPr>
          <p:spPr>
            <a:xfrm>
              <a:off x="2742056" y="5196248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/>
                  <a:cs typeface="Times New Roman"/>
                </a:rPr>
                <a:t>2020</a:t>
              </a:r>
              <a:endParaRPr lang="es-ES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endParaRPr>
            </a:p>
          </p:txBody>
        </p:sp>
      </p:grpSp>
      <p:sp>
        <p:nvSpPr>
          <p:cNvPr id="60" name="CuadroTexto 59"/>
          <p:cNvSpPr txBox="1"/>
          <p:nvPr/>
        </p:nvSpPr>
        <p:spPr>
          <a:xfrm>
            <a:off x="4933781" y="3501008"/>
            <a:ext cx="1435008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 dirty="0" smtClean="0">
                <a:solidFill>
                  <a:schemeClr val="accent5">
                    <a:lumMod val="75000"/>
                  </a:schemeClr>
                </a:solidFill>
                <a:latin typeface="Times New Roman"/>
                <a:cs typeface="Times New Roman"/>
              </a:rPr>
              <a:t>35%</a:t>
            </a:r>
          </a:p>
          <a:p>
            <a:r>
              <a:rPr lang="es-ES" sz="1000" b="1" cap="small" dirty="0" err="1" smtClean="0">
                <a:solidFill>
                  <a:schemeClr val="accent5">
                    <a:lumMod val="75000"/>
                  </a:schemeClr>
                </a:solidFill>
                <a:latin typeface="Times New Roman"/>
                <a:cs typeface="Times New Roman"/>
              </a:rPr>
              <a:t>Clean</a:t>
            </a:r>
            <a:r>
              <a:rPr lang="es-ES" sz="1000" b="1" cap="small" dirty="0" smtClean="0">
                <a:solidFill>
                  <a:schemeClr val="accent5">
                    <a:lumMod val="75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es-ES" sz="1000" b="1" cap="small" dirty="0" err="1" smtClean="0">
                <a:solidFill>
                  <a:schemeClr val="accent5">
                    <a:lumMod val="75000"/>
                  </a:schemeClr>
                </a:solidFill>
                <a:latin typeface="Times New Roman"/>
                <a:cs typeface="Times New Roman"/>
              </a:rPr>
              <a:t>energy</a:t>
            </a:r>
            <a:endParaRPr lang="es-ES" sz="1000" b="1" cap="small" dirty="0" smtClean="0">
              <a:solidFill>
                <a:schemeClr val="accent5">
                  <a:lumMod val="75000"/>
                </a:schemeClr>
              </a:solidFill>
              <a:latin typeface="Times New Roman"/>
              <a:cs typeface="Times New Roman"/>
            </a:endParaRPr>
          </a:p>
          <a:p>
            <a:r>
              <a:rPr lang="es-ES" sz="900" cap="small" dirty="0" err="1" smtClean="0">
                <a:solidFill>
                  <a:schemeClr val="accent5">
                    <a:lumMod val="75000"/>
                  </a:schemeClr>
                </a:solidFill>
                <a:latin typeface="Times New Roman"/>
                <a:cs typeface="Times New Roman"/>
              </a:rPr>
              <a:t>From</a:t>
            </a:r>
            <a:r>
              <a:rPr lang="es-ES" sz="900" cap="small" dirty="0" smtClean="0">
                <a:solidFill>
                  <a:schemeClr val="accent5">
                    <a:lumMod val="75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es-ES" sz="900" cap="small" dirty="0" err="1" smtClean="0">
                <a:solidFill>
                  <a:schemeClr val="accent5">
                    <a:lumMod val="75000"/>
                  </a:schemeClr>
                </a:solidFill>
                <a:latin typeface="Times New Roman"/>
                <a:cs typeface="Times New Roman"/>
              </a:rPr>
              <a:t>power</a:t>
            </a:r>
            <a:r>
              <a:rPr lang="es-ES" sz="900" cap="small" dirty="0" smtClean="0">
                <a:solidFill>
                  <a:schemeClr val="accent5">
                    <a:lumMod val="75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lang="es-ES" sz="900" cap="small" dirty="0" err="1" smtClean="0">
                <a:solidFill>
                  <a:schemeClr val="accent5">
                    <a:lumMod val="75000"/>
                  </a:schemeClr>
                </a:solidFill>
                <a:latin typeface="Times New Roman"/>
                <a:cs typeface="Times New Roman"/>
              </a:rPr>
              <a:t>generation</a:t>
            </a:r>
            <a:endParaRPr lang="es-ES" sz="900" cap="small" dirty="0">
              <a:solidFill>
                <a:schemeClr val="accent5">
                  <a:lumMod val="75000"/>
                </a:schemeClr>
              </a:solidFill>
              <a:latin typeface="Times New Roman"/>
              <a:cs typeface="Times New Roman"/>
            </a:endParaRPr>
          </a:p>
        </p:txBody>
      </p:sp>
      <p:sp>
        <p:nvSpPr>
          <p:cNvPr id="61" name="CuadroTexto 60"/>
          <p:cNvSpPr txBox="1"/>
          <p:nvPr/>
        </p:nvSpPr>
        <p:spPr>
          <a:xfrm rot="20085491">
            <a:off x="2027271" y="3420324"/>
            <a:ext cx="6406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b="1" dirty="0" err="1" smtClean="0">
                <a:solidFill>
                  <a:schemeClr val="accent2">
                    <a:lumMod val="75000"/>
                  </a:schemeClr>
                </a:solidFill>
                <a:latin typeface="Times New Roman"/>
                <a:cs typeface="Times New Roman"/>
              </a:rPr>
              <a:t>baseline</a:t>
            </a:r>
            <a:endParaRPr lang="es-ES" sz="1000" b="1" dirty="0">
              <a:solidFill>
                <a:schemeClr val="accent2">
                  <a:lumMod val="75000"/>
                </a:schemeClr>
              </a:solidFill>
              <a:latin typeface="Times New Roman"/>
              <a:cs typeface="Times New Roman"/>
            </a:endParaRPr>
          </a:p>
        </p:txBody>
      </p:sp>
      <p:sp>
        <p:nvSpPr>
          <p:cNvPr id="63" name="CuadroTexto 62"/>
          <p:cNvSpPr txBox="1"/>
          <p:nvPr/>
        </p:nvSpPr>
        <p:spPr>
          <a:xfrm>
            <a:off x="5149805" y="2576517"/>
            <a:ext cx="1430200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b="1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30% </a:t>
            </a:r>
            <a:r>
              <a:rPr lang="es-ES" sz="1000" b="1" cap="small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REDUCTION</a:t>
            </a:r>
          </a:p>
          <a:p>
            <a:r>
              <a:rPr lang="es-ES" sz="900" cap="small" dirty="0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Versus </a:t>
            </a:r>
            <a:r>
              <a:rPr lang="es-ES" sz="900" cap="small" dirty="0" err="1" smtClean="0">
                <a:solidFill>
                  <a:schemeClr val="accent3">
                    <a:lumMod val="50000"/>
                  </a:schemeClr>
                </a:solidFill>
                <a:latin typeface="Times New Roman"/>
                <a:cs typeface="Times New Roman"/>
              </a:rPr>
              <a:t>baseline</a:t>
            </a:r>
            <a:endParaRPr lang="es-ES" sz="900" dirty="0">
              <a:solidFill>
                <a:schemeClr val="accent3">
                  <a:lumMod val="50000"/>
                </a:schemeClr>
              </a:solidFill>
              <a:latin typeface="Times New Roman"/>
              <a:cs typeface="Times New Roman"/>
            </a:endParaRPr>
          </a:p>
        </p:txBody>
      </p:sp>
      <p:sp>
        <p:nvSpPr>
          <p:cNvPr id="64" name="CuadroTexto 63"/>
          <p:cNvSpPr txBox="1"/>
          <p:nvPr/>
        </p:nvSpPr>
        <p:spPr>
          <a:xfrm>
            <a:off x="6859959" y="3591080"/>
            <a:ext cx="1602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 smtClean="0">
                <a:solidFill>
                  <a:schemeClr val="accent3">
                    <a:lumMod val="75000"/>
                  </a:schemeClr>
                </a:solidFill>
                <a:latin typeface="Times New Roman"/>
                <a:cs typeface="Times New Roman"/>
              </a:rPr>
              <a:t>50% </a:t>
            </a:r>
            <a:r>
              <a:rPr lang="en-US" sz="1000" b="1" cap="small" dirty="0" smtClean="0">
                <a:solidFill>
                  <a:schemeClr val="accent3">
                    <a:lumMod val="75000"/>
                  </a:schemeClr>
                </a:solidFill>
                <a:latin typeface="Times New Roman"/>
                <a:cs typeface="Times New Roman"/>
              </a:rPr>
              <a:t>reduction</a:t>
            </a:r>
          </a:p>
          <a:p>
            <a:pPr algn="r"/>
            <a:r>
              <a:rPr lang="en-US" sz="900" cap="small" dirty="0" smtClean="0">
                <a:solidFill>
                  <a:schemeClr val="accent3">
                    <a:lumMod val="75000"/>
                  </a:schemeClr>
                </a:solidFill>
                <a:latin typeface="Times New Roman"/>
                <a:cs typeface="Times New Roman"/>
              </a:rPr>
              <a:t>Versus 2000 emission</a:t>
            </a:r>
            <a:endParaRPr lang="en-US" sz="900" cap="small" dirty="0">
              <a:solidFill>
                <a:schemeClr val="accent3">
                  <a:lumMod val="75000"/>
                </a:schemeClr>
              </a:solidFill>
              <a:latin typeface="Times New Roman"/>
              <a:cs typeface="Times New Roman"/>
            </a:endParaRPr>
          </a:p>
        </p:txBody>
      </p:sp>
      <p:grpSp>
        <p:nvGrpSpPr>
          <p:cNvPr id="80" name="Agrupar 79"/>
          <p:cNvGrpSpPr/>
          <p:nvPr/>
        </p:nvGrpSpPr>
        <p:grpSpPr>
          <a:xfrm>
            <a:off x="685309" y="2678896"/>
            <a:ext cx="867629" cy="2475272"/>
            <a:chOff x="611560" y="2678896"/>
            <a:chExt cx="867629" cy="2475272"/>
          </a:xfrm>
        </p:grpSpPr>
        <p:cxnSp>
          <p:nvCxnSpPr>
            <p:cNvPr id="13" name="Conector recto 12"/>
            <p:cNvCxnSpPr/>
            <p:nvPr/>
          </p:nvCxnSpPr>
          <p:spPr>
            <a:xfrm>
              <a:off x="1403648" y="2813896"/>
              <a:ext cx="0" cy="2340272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Agrupar 25"/>
            <p:cNvGrpSpPr/>
            <p:nvPr/>
          </p:nvGrpSpPr>
          <p:grpSpPr>
            <a:xfrm>
              <a:off x="1304616" y="3181488"/>
              <a:ext cx="108000" cy="1577192"/>
              <a:chOff x="1304616" y="3181488"/>
              <a:chExt cx="108000" cy="1577192"/>
            </a:xfrm>
          </p:grpSpPr>
          <p:cxnSp>
            <p:nvCxnSpPr>
              <p:cNvPr id="15" name="Conector recto 14"/>
              <p:cNvCxnSpPr/>
              <p:nvPr/>
            </p:nvCxnSpPr>
            <p:spPr>
              <a:xfrm rot="5400000">
                <a:off x="1358616" y="3127488"/>
                <a:ext cx="0" cy="108000"/>
              </a:xfrm>
              <a:prstGeom prst="line">
                <a:avLst/>
              </a:prstGeom>
              <a:ln w="12700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Conector recto 15"/>
              <p:cNvCxnSpPr/>
              <p:nvPr/>
            </p:nvCxnSpPr>
            <p:spPr>
              <a:xfrm rot="5400000">
                <a:off x="1358616" y="3527400"/>
                <a:ext cx="0" cy="108000"/>
              </a:xfrm>
              <a:prstGeom prst="line">
                <a:avLst/>
              </a:prstGeom>
              <a:ln w="12700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Conector recto 16"/>
              <p:cNvCxnSpPr/>
              <p:nvPr/>
            </p:nvCxnSpPr>
            <p:spPr>
              <a:xfrm rot="5400000">
                <a:off x="1358616" y="3913656"/>
                <a:ext cx="0" cy="108000"/>
              </a:xfrm>
              <a:prstGeom prst="line">
                <a:avLst/>
              </a:prstGeom>
              <a:ln w="12700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Conector recto 17"/>
              <p:cNvCxnSpPr/>
              <p:nvPr/>
            </p:nvCxnSpPr>
            <p:spPr>
              <a:xfrm rot="5400000">
                <a:off x="1358616" y="4322746"/>
                <a:ext cx="0" cy="108000"/>
              </a:xfrm>
              <a:prstGeom prst="line">
                <a:avLst/>
              </a:prstGeom>
              <a:ln w="12700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Conector recto 18"/>
              <p:cNvCxnSpPr/>
              <p:nvPr/>
            </p:nvCxnSpPr>
            <p:spPr>
              <a:xfrm rot="5400000">
                <a:off x="1358616" y="4704680"/>
                <a:ext cx="0" cy="108000"/>
              </a:xfrm>
              <a:prstGeom prst="line">
                <a:avLst/>
              </a:prstGeom>
              <a:ln w="12700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1" name="CuadroTexto 40"/>
            <p:cNvSpPr txBox="1"/>
            <p:nvPr/>
          </p:nvSpPr>
          <p:spPr>
            <a:xfrm>
              <a:off x="839507" y="4582592"/>
              <a:ext cx="4924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6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imes New Roman"/>
                  <a:cs typeface="Times New Roman"/>
                </a:rPr>
                <a:t>200</a:t>
              </a:r>
              <a:endParaRPr lang="es-E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42" name="CuadroTexto 41"/>
            <p:cNvSpPr txBox="1"/>
            <p:nvPr/>
          </p:nvSpPr>
          <p:spPr>
            <a:xfrm>
              <a:off x="724091" y="3008912"/>
              <a:ext cx="59503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6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imes New Roman"/>
                  <a:cs typeface="Times New Roman"/>
                </a:rPr>
                <a:t>1000</a:t>
              </a:r>
              <a:endParaRPr lang="es-E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43" name="CuadroTexto 42"/>
            <p:cNvSpPr txBox="1"/>
            <p:nvPr/>
          </p:nvSpPr>
          <p:spPr>
            <a:xfrm>
              <a:off x="839507" y="4212056"/>
              <a:ext cx="4924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imes New Roman"/>
                  <a:cs typeface="Times New Roman"/>
                </a:rPr>
                <a:t>4</a:t>
              </a:r>
              <a:r>
                <a:rPr lang="es-ES" sz="16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imes New Roman"/>
                  <a:cs typeface="Times New Roman"/>
                </a:rPr>
                <a:t>00</a:t>
              </a:r>
              <a:endParaRPr lang="es-E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53" name="CuadroTexto 52"/>
            <p:cNvSpPr txBox="1"/>
            <p:nvPr/>
          </p:nvSpPr>
          <p:spPr>
            <a:xfrm>
              <a:off x="839507" y="3799536"/>
              <a:ext cx="4924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imes New Roman"/>
                  <a:cs typeface="Times New Roman"/>
                </a:rPr>
                <a:t>6</a:t>
              </a:r>
              <a:r>
                <a:rPr lang="es-ES" sz="16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imes New Roman"/>
                  <a:cs typeface="Times New Roman"/>
                </a:rPr>
                <a:t>00</a:t>
              </a:r>
              <a:endParaRPr lang="es-E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57" name="CuadroTexto 56"/>
            <p:cNvSpPr txBox="1"/>
            <p:nvPr/>
          </p:nvSpPr>
          <p:spPr>
            <a:xfrm>
              <a:off x="839507" y="3409472"/>
              <a:ext cx="49244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imes New Roman"/>
                  <a:cs typeface="Times New Roman"/>
                </a:rPr>
                <a:t>8</a:t>
              </a:r>
              <a:r>
                <a:rPr lang="es-ES" sz="16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imes New Roman"/>
                  <a:cs typeface="Times New Roman"/>
                </a:rPr>
                <a:t>00</a:t>
              </a:r>
              <a:endParaRPr lang="es-E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/>
                <a:cs typeface="Times New Roman"/>
              </a:endParaRPr>
            </a:p>
          </p:txBody>
        </p:sp>
        <p:sp>
          <p:nvSpPr>
            <p:cNvPr id="65" name="CuadroTexto 64"/>
            <p:cNvSpPr txBox="1"/>
            <p:nvPr/>
          </p:nvSpPr>
          <p:spPr>
            <a:xfrm>
              <a:off x="611560" y="2678896"/>
              <a:ext cx="86762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sz="14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imes New Roman"/>
                  <a:cs typeface="Times New Roman"/>
                </a:rPr>
                <a:t>Mt CO</a:t>
              </a:r>
              <a:r>
                <a:rPr lang="es-ES" sz="1400" b="1" baseline="-25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imes New Roman"/>
                  <a:cs typeface="Times New Roman"/>
                </a:rPr>
                <a:t>2</a:t>
              </a:r>
              <a:r>
                <a:rPr lang="es-ES" sz="14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imes New Roman"/>
                  <a:cs typeface="Times New Roman"/>
                </a:rPr>
                <a:t>e</a:t>
              </a:r>
              <a:endParaRPr lang="es-E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/>
                <a:cs typeface="Times New Roman"/>
              </a:endParaRPr>
            </a:p>
          </p:txBody>
        </p:sp>
      </p:grpSp>
      <p:sp>
        <p:nvSpPr>
          <p:cNvPr id="69" name="Forma libre 68"/>
          <p:cNvSpPr/>
          <p:nvPr/>
        </p:nvSpPr>
        <p:spPr>
          <a:xfrm rot="21099714">
            <a:off x="2936969" y="2947349"/>
            <a:ext cx="2333959" cy="531254"/>
          </a:xfrm>
          <a:custGeom>
            <a:avLst/>
            <a:gdLst>
              <a:gd name="connsiteX0" fmla="*/ 0 w 1133489"/>
              <a:gd name="connsiteY0" fmla="*/ 335881 h 335881"/>
              <a:gd name="connsiteX1" fmla="*/ 472287 w 1133489"/>
              <a:gd name="connsiteY1" fmla="*/ 104963 h 335881"/>
              <a:gd name="connsiteX2" fmla="*/ 472287 w 1133489"/>
              <a:gd name="connsiteY2" fmla="*/ 230918 h 335881"/>
              <a:gd name="connsiteX3" fmla="*/ 1133489 w 1133489"/>
              <a:gd name="connsiteY3" fmla="*/ 0 h 335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3489" h="335881">
                <a:moveTo>
                  <a:pt x="0" y="335881"/>
                </a:moveTo>
                <a:cubicBezTo>
                  <a:pt x="196786" y="229169"/>
                  <a:pt x="393573" y="122457"/>
                  <a:pt x="472287" y="104963"/>
                </a:cubicBezTo>
                <a:cubicBezTo>
                  <a:pt x="551001" y="87469"/>
                  <a:pt x="362087" y="248412"/>
                  <a:pt x="472287" y="230918"/>
                </a:cubicBezTo>
                <a:cubicBezTo>
                  <a:pt x="582487" y="213424"/>
                  <a:pt x="1133489" y="0"/>
                  <a:pt x="1133489" y="0"/>
                </a:cubicBezTo>
              </a:path>
            </a:pathLst>
          </a:custGeom>
          <a:ln w="6350" cmpd="sng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0" name="Forma libre 69"/>
          <p:cNvSpPr/>
          <p:nvPr/>
        </p:nvSpPr>
        <p:spPr>
          <a:xfrm>
            <a:off x="3853661" y="3717032"/>
            <a:ext cx="1133489" cy="593889"/>
          </a:xfrm>
          <a:custGeom>
            <a:avLst/>
            <a:gdLst>
              <a:gd name="connsiteX0" fmla="*/ 0 w 1133489"/>
              <a:gd name="connsiteY0" fmla="*/ 335881 h 335881"/>
              <a:gd name="connsiteX1" fmla="*/ 472287 w 1133489"/>
              <a:gd name="connsiteY1" fmla="*/ 104963 h 335881"/>
              <a:gd name="connsiteX2" fmla="*/ 472287 w 1133489"/>
              <a:gd name="connsiteY2" fmla="*/ 230918 h 335881"/>
              <a:gd name="connsiteX3" fmla="*/ 1133489 w 1133489"/>
              <a:gd name="connsiteY3" fmla="*/ 0 h 335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3489" h="335881">
                <a:moveTo>
                  <a:pt x="0" y="335881"/>
                </a:moveTo>
                <a:cubicBezTo>
                  <a:pt x="196786" y="229169"/>
                  <a:pt x="393573" y="122457"/>
                  <a:pt x="472287" y="104963"/>
                </a:cubicBezTo>
                <a:cubicBezTo>
                  <a:pt x="551001" y="87469"/>
                  <a:pt x="362087" y="248412"/>
                  <a:pt x="472287" y="230918"/>
                </a:cubicBezTo>
                <a:cubicBezTo>
                  <a:pt x="582487" y="213424"/>
                  <a:pt x="1133489" y="0"/>
                  <a:pt x="1133489" y="0"/>
                </a:cubicBezTo>
              </a:path>
            </a:pathLst>
          </a:custGeom>
          <a:ln w="6350" cmpd="sng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4" name="CuadroTexto 73"/>
          <p:cNvSpPr txBox="1"/>
          <p:nvPr/>
        </p:nvSpPr>
        <p:spPr>
          <a:xfrm>
            <a:off x="2712028" y="5805264"/>
            <a:ext cx="2153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cap="small" dirty="0" smtClean="0">
                <a:solidFill>
                  <a:schemeClr val="accent3">
                    <a:lumMod val="75000"/>
                  </a:schemeClr>
                </a:solidFill>
                <a:latin typeface="Times New Roman"/>
                <a:cs typeface="Times New Roman"/>
              </a:rPr>
              <a:t>Structural change </a:t>
            </a:r>
            <a:br>
              <a:rPr lang="en-US" sz="1400" b="1" cap="small" dirty="0" smtClean="0">
                <a:solidFill>
                  <a:schemeClr val="accent3">
                    <a:lumMod val="75000"/>
                  </a:schemeClr>
                </a:solidFill>
                <a:latin typeface="Times New Roman"/>
                <a:cs typeface="Times New Roman"/>
              </a:rPr>
            </a:br>
            <a:r>
              <a:rPr lang="en-US" sz="1400" b="1" cap="small" dirty="0" smtClean="0">
                <a:solidFill>
                  <a:schemeClr val="accent3">
                    <a:lumMod val="75000"/>
                  </a:schemeClr>
                </a:solidFill>
                <a:latin typeface="Times New Roman"/>
                <a:cs typeface="Times New Roman"/>
              </a:rPr>
              <a:t>(energy reform)</a:t>
            </a:r>
          </a:p>
        </p:txBody>
      </p:sp>
      <p:sp>
        <p:nvSpPr>
          <p:cNvPr id="75" name="CuadroTexto 74"/>
          <p:cNvSpPr txBox="1"/>
          <p:nvPr/>
        </p:nvSpPr>
        <p:spPr>
          <a:xfrm>
            <a:off x="1733944" y="2605961"/>
            <a:ext cx="18466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sz="1000" dirty="0">
              <a:solidFill>
                <a:schemeClr val="accent3"/>
              </a:solidFill>
              <a:latin typeface="Times New Roman"/>
              <a:cs typeface="Times New Roman"/>
            </a:endParaRPr>
          </a:p>
        </p:txBody>
      </p:sp>
      <p:sp>
        <p:nvSpPr>
          <p:cNvPr id="79" name="Forma libre 78"/>
          <p:cNvSpPr/>
          <p:nvPr/>
        </p:nvSpPr>
        <p:spPr>
          <a:xfrm>
            <a:off x="1469619" y="3678386"/>
            <a:ext cx="6958361" cy="960965"/>
          </a:xfrm>
          <a:custGeom>
            <a:avLst/>
            <a:gdLst>
              <a:gd name="connsiteX0" fmla="*/ 0 w 6958361"/>
              <a:gd name="connsiteY0" fmla="*/ 331189 h 960965"/>
              <a:gd name="connsiteX1" fmla="*/ 367335 w 6958361"/>
              <a:gd name="connsiteY1" fmla="*/ 215730 h 960965"/>
              <a:gd name="connsiteX2" fmla="*/ 1238442 w 6958361"/>
              <a:gd name="connsiteY2" fmla="*/ 5805 h 960965"/>
              <a:gd name="connsiteX3" fmla="*/ 1595281 w 6958361"/>
              <a:gd name="connsiteY3" fmla="*/ 467640 h 960965"/>
              <a:gd name="connsiteX4" fmla="*/ 2078063 w 6958361"/>
              <a:gd name="connsiteY4" fmla="*/ 614588 h 960965"/>
              <a:gd name="connsiteX5" fmla="*/ 2403416 w 6958361"/>
              <a:gd name="connsiteY5" fmla="*/ 656573 h 960965"/>
              <a:gd name="connsiteX6" fmla="*/ 3389971 w 6958361"/>
              <a:gd name="connsiteY6" fmla="*/ 761536 h 960965"/>
              <a:gd name="connsiteX7" fmla="*/ 5363081 w 6958361"/>
              <a:gd name="connsiteY7" fmla="*/ 866499 h 960965"/>
              <a:gd name="connsiteX8" fmla="*/ 6958361 w 6958361"/>
              <a:gd name="connsiteY8" fmla="*/ 960965 h 960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58361" h="960965">
                <a:moveTo>
                  <a:pt x="0" y="331189"/>
                </a:moveTo>
                <a:cubicBezTo>
                  <a:pt x="80464" y="300575"/>
                  <a:pt x="160928" y="269961"/>
                  <a:pt x="367335" y="215730"/>
                </a:cubicBezTo>
                <a:cubicBezTo>
                  <a:pt x="573742" y="161499"/>
                  <a:pt x="1033784" y="-36180"/>
                  <a:pt x="1238442" y="5805"/>
                </a:cubicBezTo>
                <a:cubicBezTo>
                  <a:pt x="1443100" y="47790"/>
                  <a:pt x="1455344" y="366176"/>
                  <a:pt x="1595281" y="467640"/>
                </a:cubicBezTo>
                <a:cubicBezTo>
                  <a:pt x="1735218" y="569104"/>
                  <a:pt x="1943374" y="583099"/>
                  <a:pt x="2078063" y="614588"/>
                </a:cubicBezTo>
                <a:cubicBezTo>
                  <a:pt x="2212752" y="646077"/>
                  <a:pt x="2403416" y="656573"/>
                  <a:pt x="2403416" y="656573"/>
                </a:cubicBezTo>
                <a:cubicBezTo>
                  <a:pt x="2622067" y="681064"/>
                  <a:pt x="2896694" y="726548"/>
                  <a:pt x="3389971" y="761536"/>
                </a:cubicBezTo>
                <a:cubicBezTo>
                  <a:pt x="3883249" y="796524"/>
                  <a:pt x="5363081" y="866499"/>
                  <a:pt x="5363081" y="866499"/>
                </a:cubicBezTo>
                <a:lnTo>
                  <a:pt x="6958361" y="960965"/>
                </a:lnTo>
              </a:path>
            </a:pathLst>
          </a:custGeom>
          <a:ln w="57150" cmpd="sng">
            <a:solidFill>
              <a:srgbClr val="77933C"/>
            </a:solidFill>
            <a:headEnd type="oval"/>
            <a:tailEnd type="diamon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Forma libre 7"/>
          <p:cNvSpPr/>
          <p:nvPr/>
        </p:nvSpPr>
        <p:spPr>
          <a:xfrm>
            <a:off x="1459124" y="2831944"/>
            <a:ext cx="2424406" cy="1167135"/>
          </a:xfrm>
          <a:custGeom>
            <a:avLst/>
            <a:gdLst>
              <a:gd name="connsiteX0" fmla="*/ 0 w 2424406"/>
              <a:gd name="connsiteY0" fmla="*/ 1144093 h 1144093"/>
              <a:gd name="connsiteX1" fmla="*/ 797640 w 2424406"/>
              <a:gd name="connsiteY1" fmla="*/ 839701 h 1144093"/>
              <a:gd name="connsiteX2" fmla="*/ 2424406 w 2424406"/>
              <a:gd name="connsiteY2" fmla="*/ 0 h 1144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24406" h="1144093">
                <a:moveTo>
                  <a:pt x="0" y="1144093"/>
                </a:moveTo>
                <a:cubicBezTo>
                  <a:pt x="196786" y="1087238"/>
                  <a:pt x="393572" y="1030383"/>
                  <a:pt x="797640" y="839701"/>
                </a:cubicBezTo>
                <a:cubicBezTo>
                  <a:pt x="1201708" y="649019"/>
                  <a:pt x="2424406" y="0"/>
                  <a:pt x="2424406" y="0"/>
                </a:cubicBezTo>
              </a:path>
            </a:pathLst>
          </a:custGeom>
          <a:ln w="28575" cmpd="sng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6" name="Elipse 35"/>
          <p:cNvSpPr/>
          <p:nvPr/>
        </p:nvSpPr>
        <p:spPr>
          <a:xfrm>
            <a:off x="3781653" y="4258432"/>
            <a:ext cx="144016" cy="144016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9" name="Elipse 58"/>
          <p:cNvSpPr/>
          <p:nvPr/>
        </p:nvSpPr>
        <p:spPr>
          <a:xfrm>
            <a:off x="2989565" y="4087568"/>
            <a:ext cx="144016" cy="144016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6" name="TextBox 10"/>
          <p:cNvSpPr txBox="1"/>
          <p:nvPr/>
        </p:nvSpPr>
        <p:spPr>
          <a:xfrm>
            <a:off x="2339752" y="159604"/>
            <a:ext cx="662473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r">
              <a:defRPr sz="2000" b="1" cap="small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defRPr>
            </a:lvl1pPr>
          </a:lstStyle>
          <a:p>
            <a:pPr algn="ctr"/>
            <a:r>
              <a:rPr lang="en-US" dirty="0"/>
              <a:t>National </a:t>
            </a:r>
            <a:r>
              <a:rPr lang="en-US" dirty="0" smtClean="0"/>
              <a:t>targets </a:t>
            </a:r>
            <a:r>
              <a:rPr lang="en-US" dirty="0"/>
              <a:t>for low carbon economy</a:t>
            </a:r>
            <a:endParaRPr lang="en-US" dirty="0" smtClean="0"/>
          </a:p>
          <a:p>
            <a:pPr algn="ctr"/>
            <a:r>
              <a:rPr lang="en-US" sz="1800" b="0" dirty="0"/>
              <a:t>general climate change law</a:t>
            </a:r>
          </a:p>
        </p:txBody>
      </p:sp>
    </p:spTree>
    <p:extLst>
      <p:ext uri="{BB962C8B-B14F-4D97-AF65-F5344CB8AC3E}">
        <p14:creationId xmlns:p14="http://schemas.microsoft.com/office/powerpoint/2010/main" val="28617357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16216" y="6381328"/>
            <a:ext cx="2133600" cy="365125"/>
          </a:xfrm>
        </p:spPr>
        <p:txBody>
          <a:bodyPr/>
          <a:lstStyle/>
          <a:p>
            <a:fld id="{9F50B3BD-96C4-491F-B9AF-A33AF079A4D1}" type="slidenum">
              <a:rPr lang="es-MX" smtClean="0"/>
              <a:t>11</a:t>
            </a:fld>
            <a:endParaRPr lang="es-MX" dirty="0"/>
          </a:p>
        </p:txBody>
      </p:sp>
      <p:sp>
        <p:nvSpPr>
          <p:cNvPr id="5" name="TextBox 10"/>
          <p:cNvSpPr txBox="1"/>
          <p:nvPr/>
        </p:nvSpPr>
        <p:spPr>
          <a:xfrm>
            <a:off x="2339752" y="231031"/>
            <a:ext cx="66247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r">
              <a:defRPr sz="2000" b="1" cap="small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defRPr>
            </a:lvl1pPr>
          </a:lstStyle>
          <a:p>
            <a:pPr algn="ctr"/>
            <a:r>
              <a:rPr lang="es-MX" sz="2400" dirty="0" err="1">
                <a:solidFill>
                  <a:schemeClr val="tx1"/>
                </a:solidFill>
              </a:rPr>
              <a:t>Structural</a:t>
            </a:r>
            <a:r>
              <a:rPr lang="es-MX" sz="2400" dirty="0">
                <a:solidFill>
                  <a:schemeClr val="tx1"/>
                </a:solidFill>
              </a:rPr>
              <a:t> </a:t>
            </a:r>
            <a:r>
              <a:rPr lang="es-MX" sz="2400" dirty="0" err="1">
                <a:solidFill>
                  <a:schemeClr val="tx1"/>
                </a:solidFill>
              </a:rPr>
              <a:t>Reforms</a:t>
            </a:r>
            <a:endParaRPr lang="es-MX" sz="2400" dirty="0" smtClean="0">
              <a:solidFill>
                <a:schemeClr val="tx1"/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1115616" y="1433982"/>
            <a:ext cx="2448272" cy="548680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anchor="ctr">
            <a:noAutofit/>
          </a:bodyPr>
          <a:lstStyle>
            <a:defPPr>
              <a:defRPr lang="es-MX"/>
            </a:defPPr>
            <a:lvl1pPr>
              <a:lnSpc>
                <a:spcPts val="1800"/>
              </a:lnSpc>
              <a:defRPr sz="2000" b="1" cap="small">
                <a:latin typeface="Times New Roman"/>
                <a:cs typeface="Times New Roman"/>
              </a:defRPr>
            </a:lvl1pPr>
          </a:lstStyle>
          <a:p>
            <a:pPr algn="ctr"/>
            <a:r>
              <a:rPr lang="es-MX" sz="1600" dirty="0" err="1" smtClean="0">
                <a:solidFill>
                  <a:schemeClr val="bg1"/>
                </a:solidFill>
              </a:rPr>
              <a:t>Energy</a:t>
            </a:r>
            <a:endParaRPr lang="es-MX" sz="1600" dirty="0">
              <a:solidFill>
                <a:schemeClr val="bg1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1112243" y="2071298"/>
            <a:ext cx="2448272" cy="54868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anchor="ctr">
            <a:noAutofit/>
          </a:bodyPr>
          <a:lstStyle>
            <a:defPPr>
              <a:defRPr lang="es-MX"/>
            </a:defPPr>
            <a:lvl1pPr>
              <a:lnSpc>
                <a:spcPts val="1800"/>
              </a:lnSpc>
              <a:defRPr sz="2000" b="1" cap="small">
                <a:latin typeface="Times New Roman"/>
                <a:cs typeface="Times New Roman"/>
              </a:defRPr>
            </a:lvl1pPr>
          </a:lstStyle>
          <a:p>
            <a:pPr algn="ctr"/>
            <a:r>
              <a:rPr lang="es-MX" sz="1600" b="0" dirty="0" err="1"/>
              <a:t>economic</a:t>
            </a:r>
            <a:r>
              <a:rPr lang="es-MX" sz="1600" b="0" dirty="0"/>
              <a:t> </a:t>
            </a:r>
            <a:r>
              <a:rPr lang="es-MX" sz="1600" b="0" dirty="0" err="1"/>
              <a:t>competition</a:t>
            </a:r>
            <a:endParaRPr lang="es-MX" sz="1600" b="0" dirty="0"/>
          </a:p>
        </p:txBody>
      </p:sp>
      <p:sp>
        <p:nvSpPr>
          <p:cNvPr id="8" name="7 CuadroTexto"/>
          <p:cNvSpPr txBox="1"/>
          <p:nvPr/>
        </p:nvSpPr>
        <p:spPr>
          <a:xfrm>
            <a:off x="1112243" y="2705472"/>
            <a:ext cx="2448272" cy="54868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anchor="ctr">
            <a:noAutofit/>
          </a:bodyPr>
          <a:lstStyle>
            <a:defPPr>
              <a:defRPr lang="es-MX"/>
            </a:defPPr>
            <a:lvl1pPr>
              <a:lnSpc>
                <a:spcPts val="1800"/>
              </a:lnSpc>
              <a:defRPr sz="2000" b="1" cap="small">
                <a:latin typeface="Times New Roman"/>
                <a:cs typeface="Times New Roman"/>
              </a:defRPr>
            </a:lvl1pPr>
          </a:lstStyle>
          <a:p>
            <a:pPr algn="ctr"/>
            <a:r>
              <a:rPr lang="es-MX" sz="1600" b="0" dirty="0" err="1" smtClean="0"/>
              <a:t>telecommunications</a:t>
            </a:r>
            <a:endParaRPr lang="es-MX" sz="1600" b="0" dirty="0"/>
          </a:p>
        </p:txBody>
      </p:sp>
      <p:sp>
        <p:nvSpPr>
          <p:cNvPr id="9" name="8 CuadroTexto"/>
          <p:cNvSpPr txBox="1"/>
          <p:nvPr/>
        </p:nvSpPr>
        <p:spPr>
          <a:xfrm>
            <a:off x="1112243" y="3341217"/>
            <a:ext cx="2448272" cy="54868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anchor="ctr">
            <a:noAutofit/>
          </a:bodyPr>
          <a:lstStyle>
            <a:defPPr>
              <a:defRPr lang="es-MX"/>
            </a:defPPr>
            <a:lvl1pPr>
              <a:lnSpc>
                <a:spcPts val="1800"/>
              </a:lnSpc>
              <a:defRPr sz="2000" b="1" cap="small">
                <a:latin typeface="Times New Roman"/>
                <a:cs typeface="Times New Roman"/>
              </a:defRPr>
            </a:lvl1pPr>
          </a:lstStyle>
          <a:p>
            <a:pPr algn="ctr"/>
            <a:r>
              <a:rPr lang="es-MX" sz="1600" b="0" dirty="0" smtClean="0"/>
              <a:t>fiscal</a:t>
            </a:r>
            <a:endParaRPr lang="es-MX" sz="1600" b="0" dirty="0"/>
          </a:p>
        </p:txBody>
      </p:sp>
      <p:sp>
        <p:nvSpPr>
          <p:cNvPr id="10" name="9 CuadroTexto"/>
          <p:cNvSpPr txBox="1"/>
          <p:nvPr/>
        </p:nvSpPr>
        <p:spPr>
          <a:xfrm>
            <a:off x="1112243" y="3976962"/>
            <a:ext cx="2448272" cy="54868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anchor="ctr">
            <a:noAutofit/>
          </a:bodyPr>
          <a:lstStyle>
            <a:defPPr>
              <a:defRPr lang="es-MX"/>
            </a:defPPr>
            <a:lvl1pPr>
              <a:lnSpc>
                <a:spcPts val="1800"/>
              </a:lnSpc>
              <a:defRPr sz="2000" b="1" cap="small">
                <a:latin typeface="Times New Roman"/>
                <a:cs typeface="Times New Roman"/>
              </a:defRPr>
            </a:lvl1pPr>
          </a:lstStyle>
          <a:p>
            <a:pPr algn="ctr"/>
            <a:r>
              <a:rPr lang="es-MX" sz="1600" b="0" dirty="0" err="1"/>
              <a:t>financial</a:t>
            </a:r>
            <a:endParaRPr lang="es-MX" sz="1600" b="0" dirty="0"/>
          </a:p>
        </p:txBody>
      </p:sp>
      <p:sp>
        <p:nvSpPr>
          <p:cNvPr id="11" name="10 CuadroTexto"/>
          <p:cNvSpPr txBox="1"/>
          <p:nvPr/>
        </p:nvSpPr>
        <p:spPr>
          <a:xfrm>
            <a:off x="1115616" y="4608512"/>
            <a:ext cx="2448272" cy="54868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anchor="ctr">
            <a:noAutofit/>
          </a:bodyPr>
          <a:lstStyle>
            <a:defPPr>
              <a:defRPr lang="es-MX"/>
            </a:defPPr>
            <a:lvl1pPr>
              <a:lnSpc>
                <a:spcPts val="1800"/>
              </a:lnSpc>
              <a:defRPr sz="2000" b="1" cap="small">
                <a:latin typeface="Times New Roman"/>
                <a:cs typeface="Times New Roman"/>
              </a:defRPr>
            </a:lvl1pPr>
          </a:lstStyle>
          <a:p>
            <a:pPr algn="ctr"/>
            <a:r>
              <a:rPr lang="es-MX" sz="1600" b="0" dirty="0"/>
              <a:t>labor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3707904" y="3347294"/>
            <a:ext cx="2448272" cy="54868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anchor="ctr">
            <a:noAutofit/>
          </a:bodyPr>
          <a:lstStyle>
            <a:defPPr>
              <a:defRPr lang="es-MX"/>
            </a:defPPr>
            <a:lvl1pPr>
              <a:lnSpc>
                <a:spcPts val="1800"/>
              </a:lnSpc>
              <a:defRPr sz="2000" b="1" cap="small">
                <a:latin typeface="Times New Roman"/>
                <a:cs typeface="Times New Roman"/>
              </a:defRPr>
            </a:lvl1pPr>
          </a:lstStyle>
          <a:p>
            <a:pPr algn="ctr"/>
            <a:r>
              <a:rPr lang="es-MX" sz="1600" b="0" dirty="0" err="1"/>
              <a:t>educational</a:t>
            </a:r>
            <a:endParaRPr lang="es-MX" sz="1600" b="0" dirty="0"/>
          </a:p>
        </p:txBody>
      </p:sp>
      <p:sp>
        <p:nvSpPr>
          <p:cNvPr id="13" name="12 CuadroTexto"/>
          <p:cNvSpPr txBox="1"/>
          <p:nvPr/>
        </p:nvSpPr>
        <p:spPr>
          <a:xfrm>
            <a:off x="3707904" y="3977334"/>
            <a:ext cx="2448272" cy="54868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anchor="ctr">
            <a:noAutofit/>
          </a:bodyPr>
          <a:lstStyle>
            <a:defPPr>
              <a:defRPr lang="es-MX"/>
            </a:defPPr>
            <a:lvl1pPr>
              <a:lnSpc>
                <a:spcPts val="1800"/>
              </a:lnSpc>
              <a:defRPr sz="2000" b="1" cap="small">
                <a:latin typeface="Times New Roman"/>
                <a:cs typeface="Times New Roman"/>
              </a:defRPr>
            </a:lvl1pPr>
          </a:lstStyle>
          <a:p>
            <a:pPr algn="ctr"/>
            <a:r>
              <a:rPr lang="es-MX" sz="1600" b="0" dirty="0"/>
              <a:t>habeas corpus</a:t>
            </a:r>
          </a:p>
        </p:txBody>
      </p:sp>
      <p:sp>
        <p:nvSpPr>
          <p:cNvPr id="14" name="13 CuadroTexto"/>
          <p:cNvSpPr txBox="1"/>
          <p:nvPr/>
        </p:nvSpPr>
        <p:spPr>
          <a:xfrm>
            <a:off x="6300192" y="3983858"/>
            <a:ext cx="2448272" cy="54868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anchor="ctr">
            <a:noAutofit/>
          </a:bodyPr>
          <a:lstStyle>
            <a:defPPr>
              <a:defRPr lang="es-MX"/>
            </a:defPPr>
            <a:lvl1pPr>
              <a:lnSpc>
                <a:spcPts val="1800"/>
              </a:lnSpc>
              <a:defRPr sz="2000" b="1" cap="small">
                <a:latin typeface="Times New Roman"/>
                <a:cs typeface="Times New Roman"/>
              </a:defRPr>
            </a:lvl1pPr>
          </a:lstStyle>
          <a:p>
            <a:pPr algn="ctr"/>
            <a:r>
              <a:rPr lang="es-MX" sz="1600" b="0" dirty="0"/>
              <a:t>electoral </a:t>
            </a:r>
            <a:r>
              <a:rPr lang="es-MX" sz="1600" b="0" dirty="0" err="1"/>
              <a:t>politics</a:t>
            </a:r>
            <a:endParaRPr lang="es-MX" sz="1600" b="0" dirty="0"/>
          </a:p>
        </p:txBody>
      </p:sp>
      <p:sp>
        <p:nvSpPr>
          <p:cNvPr id="16" name="15 CuadroTexto"/>
          <p:cNvSpPr txBox="1"/>
          <p:nvPr/>
        </p:nvSpPr>
        <p:spPr>
          <a:xfrm>
            <a:off x="6300192" y="4609703"/>
            <a:ext cx="2448272" cy="54868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anchor="ctr">
            <a:noAutofit/>
          </a:bodyPr>
          <a:lstStyle>
            <a:defPPr>
              <a:defRPr lang="es-MX"/>
            </a:defPPr>
            <a:lvl1pPr>
              <a:lnSpc>
                <a:spcPts val="1800"/>
              </a:lnSpc>
              <a:defRPr sz="2000" b="1" cap="small">
                <a:latin typeface="Times New Roman"/>
                <a:cs typeface="Times New Roman"/>
              </a:defRPr>
            </a:lvl1pPr>
          </a:lstStyle>
          <a:p>
            <a:pPr algn="ctr"/>
            <a:r>
              <a:rPr lang="es-MX" sz="1600" b="0" dirty="0" err="1"/>
              <a:t>transparency</a:t>
            </a:r>
            <a:endParaRPr lang="es-MX" sz="1600" b="0" dirty="0"/>
          </a:p>
        </p:txBody>
      </p:sp>
      <p:sp>
        <p:nvSpPr>
          <p:cNvPr id="17" name="16 Rectángulo"/>
          <p:cNvSpPr/>
          <p:nvPr/>
        </p:nvSpPr>
        <p:spPr>
          <a:xfrm>
            <a:off x="6300192" y="5590594"/>
            <a:ext cx="2448272" cy="50270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prstDash val="sysDash"/>
          </a:ln>
        </p:spPr>
        <p:txBody>
          <a:bodyPr wrap="square" rtlCol="0" anchor="ctr">
            <a:noAutofit/>
          </a:bodyPr>
          <a:lstStyle/>
          <a:p>
            <a:pPr algn="ctr">
              <a:lnSpc>
                <a:spcPts val="1600"/>
              </a:lnSpc>
            </a:pPr>
            <a:r>
              <a:rPr lang="es-ES" sz="1600" b="1" cap="small" dirty="0" err="1">
                <a:solidFill>
                  <a:schemeClr val="bg1"/>
                </a:solidFill>
                <a:latin typeface="Times New Roman"/>
                <a:cs typeface="Times New Roman"/>
              </a:rPr>
              <a:t>democracy</a:t>
            </a:r>
            <a:r>
              <a:rPr lang="es-ES" sz="1600" b="1" cap="small" dirty="0">
                <a:solidFill>
                  <a:schemeClr val="bg1"/>
                </a:solidFill>
                <a:latin typeface="Times New Roman"/>
                <a:cs typeface="Times New Roman"/>
              </a:rPr>
              <a:t> and </a:t>
            </a:r>
            <a:r>
              <a:rPr lang="es-ES" sz="1600" b="1" cap="small" dirty="0" err="1" smtClean="0">
                <a:solidFill>
                  <a:schemeClr val="bg1"/>
                </a:solidFill>
                <a:latin typeface="Times New Roman"/>
                <a:cs typeface="Times New Roman"/>
              </a:rPr>
              <a:t>freedom</a:t>
            </a:r>
            <a:endParaRPr lang="es-MX" sz="1600" b="1" cap="small" dirty="0">
              <a:solidFill>
                <a:schemeClr val="bg1"/>
              </a:solidFill>
              <a:latin typeface="Times New Roman"/>
              <a:cs typeface="Times New Roman"/>
            </a:endParaRPr>
          </a:p>
        </p:txBody>
      </p:sp>
      <p:sp>
        <p:nvSpPr>
          <p:cNvPr id="18" name="17 Rectángulo"/>
          <p:cNvSpPr/>
          <p:nvPr/>
        </p:nvSpPr>
        <p:spPr>
          <a:xfrm>
            <a:off x="1117233" y="5590594"/>
            <a:ext cx="2448272" cy="50270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prstDash val="sysDash"/>
          </a:ln>
        </p:spPr>
        <p:txBody>
          <a:bodyPr wrap="square" rtlCol="0" anchor="ctr">
            <a:noAutofit/>
          </a:bodyPr>
          <a:lstStyle/>
          <a:p>
            <a:pPr algn="ctr">
              <a:lnSpc>
                <a:spcPts val="1600"/>
              </a:lnSpc>
            </a:pPr>
            <a:r>
              <a:rPr lang="es-ES" sz="1600" b="1" cap="small" dirty="0" err="1">
                <a:solidFill>
                  <a:schemeClr val="bg1"/>
                </a:solidFill>
                <a:latin typeface="Times New Roman"/>
                <a:cs typeface="Times New Roman"/>
              </a:rPr>
              <a:t>increase</a:t>
            </a:r>
            <a:r>
              <a:rPr lang="es-ES" sz="1600" b="1" cap="small" dirty="0">
                <a:solidFill>
                  <a:schemeClr val="bg1"/>
                </a:solidFill>
                <a:latin typeface="Times New Roman"/>
                <a:cs typeface="Times New Roman"/>
              </a:rPr>
              <a:t> </a:t>
            </a:r>
            <a:r>
              <a:rPr lang="es-ES" sz="1600" b="1" cap="small" dirty="0" err="1">
                <a:solidFill>
                  <a:schemeClr val="bg1"/>
                </a:solidFill>
                <a:latin typeface="Times New Roman"/>
                <a:cs typeface="Times New Roman"/>
              </a:rPr>
              <a:t>productivity</a:t>
            </a:r>
            <a:endParaRPr lang="es-MX" sz="1600" b="1" cap="small" dirty="0">
              <a:solidFill>
                <a:schemeClr val="bg1"/>
              </a:solidFill>
              <a:latin typeface="Times New Roman"/>
              <a:cs typeface="Times New Roman"/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3707904" y="5590594"/>
            <a:ext cx="2448272" cy="50270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  <a:prstDash val="sysDash"/>
          </a:ln>
        </p:spPr>
        <p:txBody>
          <a:bodyPr wrap="square" rtlCol="0" anchor="ctr">
            <a:noAutofit/>
          </a:bodyPr>
          <a:lstStyle/>
          <a:p>
            <a:pPr algn="ctr">
              <a:lnSpc>
                <a:spcPts val="1600"/>
              </a:lnSpc>
            </a:pPr>
            <a:r>
              <a:rPr lang="en-US" sz="1600" b="1" cap="small" dirty="0" smtClean="0">
                <a:solidFill>
                  <a:schemeClr val="bg1"/>
                </a:solidFill>
                <a:latin typeface="Times New Roman"/>
                <a:cs typeface="Times New Roman"/>
              </a:rPr>
              <a:t>Rule of law</a:t>
            </a:r>
            <a:endParaRPr lang="es-MX" sz="1600" b="1" cap="small" dirty="0">
              <a:solidFill>
                <a:schemeClr val="bg1"/>
              </a:solidFill>
              <a:latin typeface="Times New Roman"/>
              <a:cs typeface="Times New Roman"/>
            </a:endParaRPr>
          </a:p>
        </p:txBody>
      </p:sp>
      <p:sp>
        <p:nvSpPr>
          <p:cNvPr id="20" name="19 CuadroTexto"/>
          <p:cNvSpPr txBox="1"/>
          <p:nvPr/>
        </p:nvSpPr>
        <p:spPr>
          <a:xfrm>
            <a:off x="3707904" y="4608512"/>
            <a:ext cx="2448272" cy="54868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wrap="square" anchor="ctr">
            <a:noAutofit/>
          </a:bodyPr>
          <a:lstStyle>
            <a:defPPr>
              <a:defRPr lang="es-MX"/>
            </a:defPPr>
            <a:lvl1pPr algn="ctr">
              <a:lnSpc>
                <a:spcPts val="1800"/>
              </a:lnSpc>
              <a:defRPr sz="1600" b="0" cap="small">
                <a:latin typeface="Times New Roman"/>
                <a:cs typeface="Times New Roman"/>
              </a:defRPr>
            </a:lvl1pPr>
          </a:lstStyle>
          <a:p>
            <a:r>
              <a:rPr lang="en-US" dirty="0"/>
              <a:t>national code of criminal proceedings</a:t>
            </a:r>
            <a:endParaRPr lang="es-MX" dirty="0"/>
          </a:p>
        </p:txBody>
      </p:sp>
      <p:cxnSp>
        <p:nvCxnSpPr>
          <p:cNvPr id="21" name="20 Conector recto"/>
          <p:cNvCxnSpPr/>
          <p:nvPr/>
        </p:nvCxnSpPr>
        <p:spPr>
          <a:xfrm flipH="1">
            <a:off x="251520" y="5373216"/>
            <a:ext cx="8571376" cy="0"/>
          </a:xfrm>
          <a:prstGeom prst="line">
            <a:avLst/>
          </a:prstGeom>
          <a:ln w="38100">
            <a:solidFill>
              <a:srgbClr val="660E0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22 CuadroTexto"/>
          <p:cNvSpPr txBox="1"/>
          <p:nvPr/>
        </p:nvSpPr>
        <p:spPr>
          <a:xfrm>
            <a:off x="-109272" y="5661248"/>
            <a:ext cx="11528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MX" sz="1600" cap="small" dirty="0" err="1">
                <a:latin typeface="Times New Roman"/>
                <a:cs typeface="Times New Roman"/>
              </a:rPr>
              <a:t>objectives</a:t>
            </a:r>
            <a:endParaRPr lang="es-MX" sz="1600" cap="small" dirty="0">
              <a:latin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4809315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96" y="2669125"/>
            <a:ext cx="2983336" cy="1979010"/>
          </a:xfrm>
          <a:prstGeom prst="rect">
            <a:avLst/>
          </a:prstGeom>
          <a:ln w="9525">
            <a:solidFill>
              <a:schemeClr val="bg1">
                <a:lumMod val="50000"/>
                <a:alpha val="51000"/>
              </a:schemeClr>
            </a:solidFill>
            <a:miter lim="800000"/>
            <a:headEnd/>
            <a:tailEnd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12 CuadroTexto"/>
          <p:cNvSpPr txBox="1"/>
          <p:nvPr/>
        </p:nvSpPr>
        <p:spPr>
          <a:xfrm>
            <a:off x="179512" y="5517232"/>
            <a:ext cx="87129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indent="-177800"/>
            <a:r>
              <a:rPr lang="en-GB" sz="1000" cap="small" dirty="0" smtClean="0">
                <a:latin typeface="Times New Roman" pitchFamily="18" charset="0"/>
                <a:cs typeface="Times New Roman" pitchFamily="18" charset="0"/>
              </a:rPr>
              <a:t> *  Average daily </a:t>
            </a:r>
            <a:r>
              <a:rPr lang="en-GB" sz="1000" cap="small" dirty="0">
                <a:latin typeface="Times New Roman" pitchFamily="18" charset="0"/>
                <a:cs typeface="Times New Roman" pitchFamily="18" charset="0"/>
              </a:rPr>
              <a:t>irradiation</a:t>
            </a:r>
            <a:r>
              <a:rPr lang="en-GB" sz="1000" cap="small" dirty="0" smtClean="0">
                <a:latin typeface="Times New Roman" pitchFamily="18" charset="0"/>
                <a:cs typeface="Times New Roman" pitchFamily="18" charset="0"/>
              </a:rPr>
              <a:t> in Mexico is about 5.5 kwh/m</a:t>
            </a:r>
            <a:r>
              <a:rPr lang="en-GB" sz="1000" cap="small" baseline="30000" dirty="0" smtClean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n-GB" sz="1000" cap="small" dirty="0" smtClean="0">
                <a:latin typeface="Times New Roman" pitchFamily="18" charset="0"/>
                <a:cs typeface="Times New Roman" pitchFamily="18" charset="0"/>
              </a:rPr>
              <a:t>/d, and can reach values higher than 8.5kwh/m</a:t>
            </a:r>
            <a:r>
              <a:rPr lang="en-GB" sz="1000" cap="small" baseline="30000" dirty="0" smtClean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n-GB" sz="1000" cap="small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271463" indent="-177800"/>
            <a:r>
              <a:rPr lang="en-GB" sz="1000" cap="small" dirty="0">
                <a:latin typeface="Times New Roman" pitchFamily="18" charset="0"/>
                <a:cs typeface="Times New Roman" pitchFamily="18" charset="0"/>
              </a:rPr>
              <a:t>** Studies to characterize the wind resource in regions of the Isthmus of Tehuantepec, the peninsulas of Yucatan and Baja California, and the northern region of the Gulf of Mexico.</a:t>
            </a:r>
          </a:p>
          <a:p>
            <a:pPr marL="271463" indent="-177800"/>
            <a:r>
              <a:rPr lang="en-GB" sz="1000" cap="small" dirty="0">
                <a:latin typeface="Times New Roman" pitchFamily="18" charset="0"/>
                <a:cs typeface="Times New Roman" pitchFamily="18" charset="0"/>
              </a:rPr>
              <a:t>*** </a:t>
            </a:r>
            <a:r>
              <a:rPr lang="en-US" sz="1000" cap="small" dirty="0">
                <a:latin typeface="Times New Roman" pitchFamily="18" charset="0"/>
                <a:cs typeface="Times New Roman" pitchFamily="18" charset="0"/>
              </a:rPr>
              <a:t>geothermal potential based on the census of more than 1,300 hot spots estimated by the Federal Electricity </a:t>
            </a:r>
            <a:r>
              <a:rPr lang="en-US" sz="1000" cap="small" dirty="0" smtClean="0">
                <a:latin typeface="Times New Roman" pitchFamily="18" charset="0"/>
                <a:cs typeface="Times New Roman" pitchFamily="18" charset="0"/>
              </a:rPr>
              <a:t>Commission.</a:t>
            </a:r>
            <a:endParaRPr lang="en-GB" sz="1000" cap="small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172966" y="1803593"/>
            <a:ext cx="2749396" cy="5539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b="1" cap="small" dirty="0" smtClean="0">
                <a:latin typeface="Times New Roman"/>
                <a:cs typeface="Times New Roman"/>
              </a:rPr>
              <a:t>Direct irradiation</a:t>
            </a:r>
            <a:r>
              <a:rPr lang="en-GB" cap="small" dirty="0" smtClean="0">
                <a:latin typeface="Times New Roman"/>
                <a:cs typeface="Times New Roman"/>
              </a:rPr>
              <a:t/>
            </a:r>
            <a:br>
              <a:rPr lang="en-GB" cap="small" dirty="0" smtClean="0">
                <a:latin typeface="Times New Roman"/>
                <a:cs typeface="Times New Roman"/>
              </a:rPr>
            </a:br>
            <a:r>
              <a:rPr lang="en-GB" sz="1200" cap="small" dirty="0" smtClean="0">
                <a:latin typeface="Times New Roman"/>
                <a:cs typeface="Times New Roman"/>
              </a:rPr>
              <a:t>During June*</a:t>
            </a:r>
            <a:endParaRPr lang="en-GB" sz="1200" dirty="0"/>
          </a:p>
        </p:txBody>
      </p:sp>
      <p:sp>
        <p:nvSpPr>
          <p:cNvPr id="18" name="4 Marcador de pie de página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03113" y="6662563"/>
            <a:ext cx="5260975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r>
              <a:rPr lang="en-US" sz="900" cap="small" dirty="0" smtClean="0">
                <a:latin typeface="Times New Roman" pitchFamily="18" charset="0"/>
                <a:cs typeface="Times New Roman" pitchFamily="18" charset="0"/>
              </a:rPr>
              <a:t>Source: </a:t>
            </a:r>
            <a:r>
              <a:rPr lang="es-MX" sz="900" cap="small" dirty="0" smtClean="0">
                <a:latin typeface="Times New Roman" pitchFamily="18" charset="0"/>
                <a:cs typeface="Times New Roman" pitchFamily="18" charset="0"/>
              </a:rPr>
              <a:t>SENER, Inventario Nacional de Energías Renovables</a:t>
            </a:r>
            <a:endParaRPr lang="en-US" sz="900" cap="small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898" y="2657148"/>
            <a:ext cx="3045616" cy="1986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19 CuadroTexto"/>
          <p:cNvSpPr txBox="1"/>
          <p:nvPr/>
        </p:nvSpPr>
        <p:spPr>
          <a:xfrm>
            <a:off x="3131840" y="1778005"/>
            <a:ext cx="275338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b="1" cap="small" dirty="0" smtClean="0">
                <a:latin typeface="Times New Roman"/>
                <a:cs typeface="Times New Roman"/>
              </a:rPr>
              <a:t>Power density </a:t>
            </a:r>
          </a:p>
          <a:p>
            <a:pPr algn="ctr"/>
            <a:r>
              <a:rPr lang="en-GB" sz="1400" cap="small" dirty="0" smtClean="0">
                <a:latin typeface="Times New Roman"/>
                <a:cs typeface="Times New Roman"/>
              </a:rPr>
              <a:t>80mts during Apr. (W/m</a:t>
            </a:r>
            <a:r>
              <a:rPr lang="en-GB" sz="1400" cap="small" baseline="30000" dirty="0" smtClean="0">
                <a:latin typeface="Times New Roman"/>
                <a:cs typeface="Times New Roman"/>
              </a:rPr>
              <a:t>2</a:t>
            </a:r>
            <a:r>
              <a:rPr lang="en-GB" sz="1400" cap="small" dirty="0" smtClean="0">
                <a:latin typeface="Times New Roman"/>
                <a:cs typeface="Times New Roman"/>
              </a:rPr>
              <a:t>)</a:t>
            </a:r>
            <a:r>
              <a:rPr lang="en-GB" sz="1100" cap="small" dirty="0" smtClean="0">
                <a:latin typeface="Times New Roman"/>
                <a:cs typeface="Times New Roman"/>
              </a:rPr>
              <a:t>**</a:t>
            </a:r>
            <a:endParaRPr lang="en-GB" sz="1400" dirty="0"/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1168" y="2566197"/>
            <a:ext cx="3050188" cy="2222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21 CuadroTexto"/>
          <p:cNvSpPr txBox="1"/>
          <p:nvPr/>
        </p:nvSpPr>
        <p:spPr>
          <a:xfrm>
            <a:off x="6228184" y="1772816"/>
            <a:ext cx="275338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b="1" cap="small" dirty="0">
                <a:latin typeface="Times New Roman"/>
                <a:cs typeface="Times New Roman"/>
              </a:rPr>
              <a:t>Geothermal resources </a:t>
            </a:r>
            <a:r>
              <a:rPr lang="en-GB" sz="1400" cap="small" dirty="0">
                <a:latin typeface="Times New Roman"/>
                <a:cs typeface="Times New Roman"/>
              </a:rPr>
              <a:t>(°C</a:t>
            </a:r>
            <a:r>
              <a:rPr lang="en-GB" sz="1400" cap="small" dirty="0" smtClean="0">
                <a:latin typeface="Times New Roman"/>
                <a:cs typeface="Times New Roman"/>
              </a:rPr>
              <a:t>)</a:t>
            </a:r>
            <a:r>
              <a:rPr lang="en-GB" sz="1050" cap="small" dirty="0" smtClean="0">
                <a:latin typeface="Times New Roman"/>
                <a:cs typeface="Times New Roman"/>
              </a:rPr>
              <a:t>***</a:t>
            </a:r>
            <a:endParaRPr lang="en-GB" sz="1400" cap="small" dirty="0">
              <a:latin typeface="Times New Roman"/>
              <a:cs typeface="Times New Roman"/>
            </a:endParaRPr>
          </a:p>
        </p:txBody>
      </p:sp>
      <p:sp>
        <p:nvSpPr>
          <p:cNvPr id="23" name="TextBox 10"/>
          <p:cNvSpPr txBox="1"/>
          <p:nvPr/>
        </p:nvSpPr>
        <p:spPr>
          <a:xfrm>
            <a:off x="2339752" y="292586"/>
            <a:ext cx="662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r">
              <a:defRPr sz="2000" b="1" cap="small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defRPr>
            </a:lvl1pPr>
          </a:lstStyle>
          <a:p>
            <a:pPr algn="ctr"/>
            <a:r>
              <a:rPr lang="en-US" dirty="0"/>
              <a:t>Maps of </a:t>
            </a:r>
            <a:r>
              <a:rPr lang="en-US" dirty="0" smtClean="0"/>
              <a:t>Renewable Resour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9344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827584" y="1564627"/>
            <a:ext cx="7488832" cy="93789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 b="1" cap="small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995846" y="116632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endParaRPr lang="en-US" cap="small" dirty="0">
              <a:latin typeface="Times New Roman"/>
              <a:cs typeface="Times New Roman"/>
            </a:endParaRPr>
          </a:p>
        </p:txBody>
      </p:sp>
      <p:sp>
        <p:nvSpPr>
          <p:cNvPr id="23" name="TextBox 10"/>
          <p:cNvSpPr txBox="1"/>
          <p:nvPr/>
        </p:nvSpPr>
        <p:spPr>
          <a:xfrm>
            <a:off x="2339752" y="67271"/>
            <a:ext cx="66247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r">
              <a:defRPr sz="2000" b="1" cap="small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defRPr>
            </a:lvl1pPr>
          </a:lstStyle>
          <a:p>
            <a:pPr algn="ctr"/>
            <a:r>
              <a:rPr lang="en-US" sz="2400" dirty="0"/>
              <a:t>Energy Reform</a:t>
            </a:r>
          </a:p>
          <a:p>
            <a:pPr algn="ctr"/>
            <a:r>
              <a:rPr lang="en-US" b="0" dirty="0" smtClean="0"/>
              <a:t>key Elements </a:t>
            </a:r>
            <a:endParaRPr lang="en-US" sz="1800" b="0" dirty="0" smtClean="0"/>
          </a:p>
        </p:txBody>
      </p:sp>
      <p:sp>
        <p:nvSpPr>
          <p:cNvPr id="9" name="8 Rectángulo"/>
          <p:cNvSpPr/>
          <p:nvPr/>
        </p:nvSpPr>
        <p:spPr>
          <a:xfrm>
            <a:off x="179512" y="5857914"/>
            <a:ext cx="8280920" cy="451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lnSpc>
                <a:spcPts val="1400"/>
              </a:lnSpc>
            </a:pPr>
            <a:r>
              <a:rPr lang="es-MX" sz="1050" cap="small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       </a:t>
            </a:r>
            <a:r>
              <a:rPr lang="es-MX" sz="10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unds</a:t>
            </a:r>
            <a:r>
              <a:rPr lang="es-MX" sz="10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s-MX" sz="10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xican</a:t>
            </a:r>
            <a:r>
              <a:rPr lang="es-MX" sz="10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0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etroleum</a:t>
            </a:r>
            <a:r>
              <a:rPr lang="es-MX" sz="10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0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und</a:t>
            </a:r>
            <a:r>
              <a:rPr lang="es-MX" sz="10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0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ublic trust for the promotion and development of national energy industry suppliers and contractors</a:t>
            </a:r>
            <a:r>
              <a:rPr lang="es-MX" sz="10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s-ES" sz="10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ner-nafin</a:t>
            </a:r>
            <a:r>
              <a:rPr lang="es-ES" sz="10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S" sz="10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und</a:t>
            </a:r>
            <a:r>
              <a:rPr lang="es-MX" sz="10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and universal </a:t>
            </a:r>
            <a:r>
              <a:rPr lang="es-MX" sz="10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wer</a:t>
            </a:r>
            <a:r>
              <a:rPr lang="es-MX" sz="10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0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rvice</a:t>
            </a:r>
            <a:r>
              <a:rPr lang="es-MX" sz="10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0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und</a:t>
            </a:r>
            <a:endParaRPr lang="es-MX" altLang="ja-JP" sz="1050" cap="small" dirty="0">
              <a:latin typeface="Times New Roman"/>
              <a:cs typeface="Times New Roman"/>
            </a:endParaRPr>
          </a:p>
        </p:txBody>
      </p:sp>
      <p:sp>
        <p:nvSpPr>
          <p:cNvPr id="13" name="Rectángulo 38"/>
          <p:cNvSpPr/>
          <p:nvPr/>
        </p:nvSpPr>
        <p:spPr>
          <a:xfrm>
            <a:off x="3500006" y="1708872"/>
            <a:ext cx="2236861" cy="6494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s-ES" sz="1400" cap="small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condary</a:t>
            </a:r>
            <a:r>
              <a:rPr lang="es-ES" sz="14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S" sz="1400" cap="small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gislation</a:t>
            </a:r>
            <a:endParaRPr lang="es-ES" sz="1400" cap="small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Rectángulo 38"/>
          <p:cNvSpPr/>
          <p:nvPr/>
        </p:nvSpPr>
        <p:spPr>
          <a:xfrm>
            <a:off x="5948278" y="1708872"/>
            <a:ext cx="2236861" cy="6494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s-ES" sz="1400" cap="small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ulatory</a:t>
            </a:r>
            <a:r>
              <a:rPr lang="es-ES" sz="14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S" sz="1400" cap="small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odies</a:t>
            </a:r>
            <a:endParaRPr lang="es-ES" sz="1400" cap="small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ts val="1400"/>
              </a:lnSpc>
            </a:pPr>
            <a:r>
              <a:rPr lang="es-ES" sz="12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s-ES" sz="1200" cap="small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e</a:t>
            </a:r>
            <a:r>
              <a:rPr lang="es-ES" sz="12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&amp; </a:t>
            </a:r>
            <a:r>
              <a:rPr lang="es-ES" sz="1200" cap="small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nh</a:t>
            </a:r>
            <a:r>
              <a:rPr lang="es-ES" sz="12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s-ES" sz="1200" cap="small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899592" y="1718101"/>
            <a:ext cx="2533019" cy="63094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400"/>
              </a:lnSpc>
            </a:pPr>
            <a:r>
              <a:rPr lang="es-ES" sz="1600" cap="small" dirty="0" err="1">
                <a:solidFill>
                  <a:schemeClr val="bg1"/>
                </a:solidFill>
                <a:latin typeface="Times New Roman"/>
                <a:cs typeface="Times New Roman"/>
              </a:rPr>
              <a:t>Strengthening</a:t>
            </a:r>
            <a:endParaRPr lang="es-ES" sz="1600" cap="small" dirty="0">
              <a:solidFill>
                <a:schemeClr val="bg1"/>
              </a:solidFill>
              <a:latin typeface="Times New Roman"/>
              <a:cs typeface="Times New Roman"/>
            </a:endParaRPr>
          </a:p>
          <a:p>
            <a:pPr lvl="0" algn="ctr">
              <a:lnSpc>
                <a:spcPts val="1400"/>
              </a:lnSpc>
            </a:pPr>
            <a:r>
              <a:rPr lang="es-ES" sz="1600" cap="small" dirty="0" smtClean="0">
                <a:solidFill>
                  <a:schemeClr val="bg1"/>
                </a:solidFill>
                <a:latin typeface="Times New Roman"/>
                <a:cs typeface="Times New Roman"/>
              </a:rPr>
              <a:t>Legal </a:t>
            </a:r>
            <a:r>
              <a:rPr lang="es-ES" sz="1600" cap="small" dirty="0" err="1" smtClean="0">
                <a:solidFill>
                  <a:schemeClr val="bg1"/>
                </a:solidFill>
                <a:latin typeface="Times New Roman"/>
                <a:cs typeface="Times New Roman"/>
              </a:rPr>
              <a:t>framework</a:t>
            </a:r>
            <a:r>
              <a:rPr lang="es-ES" sz="1600" cap="small" dirty="0" smtClean="0">
                <a:solidFill>
                  <a:schemeClr val="bg1"/>
                </a:solidFill>
                <a:latin typeface="Times New Roman"/>
                <a:cs typeface="Times New Roman"/>
              </a:rPr>
              <a:t> and </a:t>
            </a:r>
            <a:r>
              <a:rPr lang="es-ES" sz="1600" cap="small" dirty="0" err="1" smtClean="0">
                <a:solidFill>
                  <a:schemeClr val="bg1"/>
                </a:solidFill>
                <a:latin typeface="Times New Roman"/>
                <a:cs typeface="Times New Roman"/>
              </a:rPr>
              <a:t>regulators</a:t>
            </a:r>
            <a:endParaRPr lang="es-ES" sz="1600" cap="small" dirty="0">
              <a:solidFill>
                <a:schemeClr val="bg1"/>
              </a:solidFill>
              <a:latin typeface="Times New Roman"/>
              <a:cs typeface="Times New Roman"/>
            </a:endParaRPr>
          </a:p>
        </p:txBody>
      </p:sp>
      <p:sp>
        <p:nvSpPr>
          <p:cNvPr id="17" name="16 Rectángulo"/>
          <p:cNvSpPr/>
          <p:nvPr/>
        </p:nvSpPr>
        <p:spPr>
          <a:xfrm>
            <a:off x="827584" y="2644747"/>
            <a:ext cx="7488832" cy="93789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 b="1" cap="small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Rectángulo 38"/>
          <p:cNvSpPr/>
          <p:nvPr/>
        </p:nvSpPr>
        <p:spPr>
          <a:xfrm>
            <a:off x="3500006" y="2788992"/>
            <a:ext cx="2236861" cy="6494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s-MX" sz="1400" cap="small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ductive</a:t>
            </a:r>
            <a:r>
              <a:rPr lang="es-MX" sz="1400" cap="small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400" cap="small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te</a:t>
            </a:r>
            <a:r>
              <a:rPr lang="es-MX" sz="1400" cap="small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400" cap="small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anies</a:t>
            </a:r>
            <a:r>
              <a:rPr lang="es-MX" sz="14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s-MX" sz="1200" cap="small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mex</a:t>
            </a:r>
            <a:r>
              <a:rPr lang="es-MX" sz="12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&amp; </a:t>
            </a:r>
            <a:r>
              <a:rPr lang="es-MX" sz="1200" cap="small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fe</a:t>
            </a:r>
            <a:r>
              <a:rPr lang="es-MX" sz="12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s-MX" sz="1200" cap="small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Rectángulo 38"/>
          <p:cNvSpPr/>
          <p:nvPr/>
        </p:nvSpPr>
        <p:spPr>
          <a:xfrm>
            <a:off x="5948278" y="2788992"/>
            <a:ext cx="2236861" cy="6494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s-ES" sz="1400" cap="small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dependent</a:t>
            </a:r>
            <a:r>
              <a:rPr lang="es-ES" sz="1400" cap="small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S" sz="1400" cap="small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stem</a:t>
            </a:r>
            <a:r>
              <a:rPr lang="es-ES" sz="1400" cap="small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S" sz="1400" cap="small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rator</a:t>
            </a:r>
            <a:r>
              <a:rPr lang="es-ES" sz="1400" cap="small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S" sz="14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s-ES" sz="14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s-ES" sz="12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asea, </a:t>
            </a:r>
            <a:r>
              <a:rPr lang="es-ES" sz="1200" cap="small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enace</a:t>
            </a:r>
            <a:r>
              <a:rPr lang="es-ES" sz="12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&amp; </a:t>
            </a:r>
            <a:r>
              <a:rPr lang="es-ES" sz="1200" cap="small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enagas</a:t>
            </a:r>
            <a:r>
              <a:rPr lang="es-ES" sz="12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s-ES" sz="1200" cap="small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19 Rectángulo"/>
          <p:cNvSpPr/>
          <p:nvPr/>
        </p:nvSpPr>
        <p:spPr>
          <a:xfrm>
            <a:off x="899592" y="2976154"/>
            <a:ext cx="2533019" cy="2750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400"/>
              </a:lnSpc>
            </a:pPr>
            <a:r>
              <a:rPr lang="es-ES" sz="1600" cap="small" dirty="0">
                <a:solidFill>
                  <a:schemeClr val="bg1"/>
                </a:solidFill>
                <a:latin typeface="Times New Roman"/>
                <a:cs typeface="Times New Roman"/>
              </a:rPr>
              <a:t>New </a:t>
            </a:r>
            <a:r>
              <a:rPr lang="es-ES" sz="1600" cap="small" dirty="0" err="1">
                <a:solidFill>
                  <a:schemeClr val="bg1"/>
                </a:solidFill>
                <a:latin typeface="Times New Roman"/>
                <a:cs typeface="Times New Roman"/>
              </a:rPr>
              <a:t>electricity</a:t>
            </a:r>
            <a:r>
              <a:rPr lang="es-ES" sz="1600" cap="small" dirty="0">
                <a:solidFill>
                  <a:schemeClr val="bg1"/>
                </a:solidFill>
                <a:latin typeface="Times New Roman"/>
                <a:cs typeface="Times New Roman"/>
              </a:rPr>
              <a:t> </a:t>
            </a:r>
            <a:r>
              <a:rPr lang="es-ES" sz="1600" cap="small" dirty="0" err="1">
                <a:solidFill>
                  <a:schemeClr val="bg1"/>
                </a:solidFill>
                <a:latin typeface="Times New Roman"/>
                <a:cs typeface="Times New Roman"/>
              </a:rPr>
              <a:t>market</a:t>
            </a:r>
            <a:r>
              <a:rPr lang="es-ES" sz="1600" cap="small" dirty="0">
                <a:solidFill>
                  <a:schemeClr val="bg1"/>
                </a:solidFill>
                <a:latin typeface="Times New Roman"/>
                <a:cs typeface="Times New Roman"/>
              </a:rPr>
              <a:t> </a:t>
            </a:r>
          </a:p>
        </p:txBody>
      </p:sp>
      <p:sp>
        <p:nvSpPr>
          <p:cNvPr id="21" name="20 Rectángulo"/>
          <p:cNvSpPr/>
          <p:nvPr/>
        </p:nvSpPr>
        <p:spPr>
          <a:xfrm>
            <a:off x="827584" y="3715245"/>
            <a:ext cx="7488832" cy="93789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 b="1" cap="small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Rectángulo 38"/>
          <p:cNvSpPr/>
          <p:nvPr/>
        </p:nvSpPr>
        <p:spPr>
          <a:xfrm>
            <a:off x="3500006" y="3859490"/>
            <a:ext cx="2236861" cy="6494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s-MX" sz="1400" cap="small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w </a:t>
            </a:r>
            <a:r>
              <a:rPr lang="es-MX" sz="1400" cap="small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x</a:t>
            </a:r>
            <a:r>
              <a:rPr lang="es-MX" sz="1400" cap="small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400" cap="small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ime</a:t>
            </a:r>
            <a:endParaRPr lang="es-MX" sz="1400" cap="small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Rectángulo 38"/>
          <p:cNvSpPr/>
          <p:nvPr/>
        </p:nvSpPr>
        <p:spPr>
          <a:xfrm>
            <a:off x="5948278" y="3859490"/>
            <a:ext cx="2236861" cy="6494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s-MX" sz="14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w </a:t>
            </a:r>
            <a:r>
              <a:rPr lang="es-MX" sz="1400" cap="small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unds</a:t>
            </a:r>
            <a:r>
              <a:rPr lang="es-MX" sz="1200" cap="small" baseline="30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es-MX" sz="1400" cap="small" baseline="30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24 Rectángulo"/>
          <p:cNvSpPr/>
          <p:nvPr/>
        </p:nvSpPr>
        <p:spPr>
          <a:xfrm>
            <a:off x="899592" y="4046652"/>
            <a:ext cx="2533019" cy="2750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400"/>
              </a:lnSpc>
            </a:pPr>
            <a:r>
              <a:rPr lang="es-ES" sz="1600" cap="small" dirty="0" err="1">
                <a:solidFill>
                  <a:schemeClr val="bg1"/>
                </a:solidFill>
                <a:latin typeface="Times New Roman"/>
                <a:cs typeface="Times New Roman"/>
              </a:rPr>
              <a:t>financial</a:t>
            </a:r>
            <a:r>
              <a:rPr lang="es-ES" sz="1600" cap="small" dirty="0">
                <a:solidFill>
                  <a:schemeClr val="bg1"/>
                </a:solidFill>
                <a:latin typeface="Times New Roman"/>
                <a:cs typeface="Times New Roman"/>
              </a:rPr>
              <a:t> </a:t>
            </a:r>
            <a:r>
              <a:rPr lang="es-ES" sz="1600" cap="small" dirty="0" err="1">
                <a:solidFill>
                  <a:schemeClr val="bg1"/>
                </a:solidFill>
                <a:latin typeface="Times New Roman"/>
                <a:cs typeface="Times New Roman"/>
              </a:rPr>
              <a:t>mechanisms</a:t>
            </a:r>
            <a:endParaRPr lang="es-ES" sz="1600" cap="small" dirty="0">
              <a:solidFill>
                <a:schemeClr val="bg1"/>
              </a:solidFill>
              <a:latin typeface="Times New Roman"/>
              <a:cs typeface="Times New Roman"/>
            </a:endParaRPr>
          </a:p>
        </p:txBody>
      </p:sp>
      <p:sp>
        <p:nvSpPr>
          <p:cNvPr id="26" name="25 Rectángulo"/>
          <p:cNvSpPr/>
          <p:nvPr/>
        </p:nvSpPr>
        <p:spPr>
          <a:xfrm>
            <a:off x="827584" y="4795365"/>
            <a:ext cx="7488832" cy="93789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 b="1" cap="small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Rectángulo 38"/>
          <p:cNvSpPr/>
          <p:nvPr/>
        </p:nvSpPr>
        <p:spPr>
          <a:xfrm>
            <a:off x="3500006" y="4939610"/>
            <a:ext cx="2236861" cy="6494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n-US" sz="1400" cap="small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tional inventory of renewable energy</a:t>
            </a:r>
            <a:endParaRPr lang="es-MX" sz="1400" cap="small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Rectángulo 38"/>
          <p:cNvSpPr/>
          <p:nvPr/>
        </p:nvSpPr>
        <p:spPr>
          <a:xfrm>
            <a:off x="5948278" y="4939610"/>
            <a:ext cx="2236861" cy="6494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n-US" sz="14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UER</a:t>
            </a:r>
            <a:endParaRPr lang="es-MX" sz="1400" cap="small" baseline="30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33 Rectángulo"/>
          <p:cNvSpPr/>
          <p:nvPr/>
        </p:nvSpPr>
        <p:spPr>
          <a:xfrm>
            <a:off x="899592" y="5038607"/>
            <a:ext cx="2533019" cy="45140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400"/>
              </a:lnSpc>
            </a:pPr>
            <a:r>
              <a:rPr lang="es-ES" sz="1600" cap="small" dirty="0" err="1" smtClean="0">
                <a:solidFill>
                  <a:schemeClr val="bg1"/>
                </a:solidFill>
                <a:latin typeface="Times New Roman"/>
                <a:cs typeface="Times New Roman"/>
              </a:rPr>
              <a:t>Information</a:t>
            </a:r>
            <a:r>
              <a:rPr lang="es-ES" sz="1600" cap="small" dirty="0" smtClean="0">
                <a:solidFill>
                  <a:schemeClr val="bg1"/>
                </a:solidFill>
                <a:latin typeface="Times New Roman"/>
                <a:cs typeface="Times New Roman"/>
              </a:rPr>
              <a:t> and </a:t>
            </a:r>
            <a:r>
              <a:rPr lang="es-ES" sz="1600" cap="small" dirty="0" err="1" smtClean="0">
                <a:solidFill>
                  <a:schemeClr val="bg1"/>
                </a:solidFill>
                <a:latin typeface="Times New Roman"/>
                <a:cs typeface="Times New Roman"/>
              </a:rPr>
              <a:t>transparency</a:t>
            </a:r>
            <a:endParaRPr lang="es-ES" sz="1600" cap="small" dirty="0">
              <a:solidFill>
                <a:schemeClr val="bg1"/>
              </a:solidFill>
              <a:latin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8516676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8995846" y="116632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endParaRPr lang="es-MX" cap="small" dirty="0">
              <a:latin typeface="Times New Roman"/>
              <a:cs typeface="Times New Roman"/>
            </a:endParaRPr>
          </a:p>
        </p:txBody>
      </p:sp>
      <p:sp>
        <p:nvSpPr>
          <p:cNvPr id="12" name="Rectángulo 2"/>
          <p:cNvSpPr/>
          <p:nvPr/>
        </p:nvSpPr>
        <p:spPr>
          <a:xfrm>
            <a:off x="1584033" y="1556792"/>
            <a:ext cx="2399657" cy="32586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200"/>
              </a:lnSpc>
            </a:pPr>
            <a:r>
              <a:rPr lang="es-ES" sz="1600" b="1" cap="small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4</a:t>
            </a:r>
            <a:endParaRPr lang="es-ES" sz="1600" b="1" cap="small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Rectángulo 8"/>
          <p:cNvSpPr/>
          <p:nvPr/>
        </p:nvSpPr>
        <p:spPr>
          <a:xfrm>
            <a:off x="1584033" y="2014026"/>
            <a:ext cx="2399657" cy="128782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rIns="36000" anchor="ctr" anchorCtr="0">
            <a:noAutofit/>
          </a:bodyPr>
          <a:lstStyle/>
          <a:p>
            <a:pPr marL="182563" indent="-173038">
              <a:lnSpc>
                <a:spcPts val="1200"/>
              </a:lnSpc>
              <a:buFont typeface="Wingdings" panose="05000000000000000000" pitchFamily="2" charset="2"/>
              <a:buChar char="ü"/>
            </a:pPr>
            <a:r>
              <a:rPr lang="en-US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ENACE: Operate </a:t>
            </a:r>
            <a:r>
              <a:rPr lang="en-US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electricity system and </a:t>
            </a:r>
            <a:r>
              <a:rPr lang="en-US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rket 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nov)</a:t>
            </a:r>
          </a:p>
          <a:p>
            <a:pPr marL="182563" indent="-173038">
              <a:lnSpc>
                <a:spcPts val="1200"/>
              </a:lnSpc>
              <a:buFont typeface="Wingdings" panose="05000000000000000000" pitchFamily="2" charset="2"/>
              <a:buChar char="ü"/>
            </a:pP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nterconnection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riteria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ec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s-MX" sz="1250" cap="smal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Rectángulo 2"/>
          <p:cNvSpPr/>
          <p:nvPr/>
        </p:nvSpPr>
        <p:spPr>
          <a:xfrm>
            <a:off x="4076921" y="1556792"/>
            <a:ext cx="2419565" cy="32586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200"/>
              </a:lnSpc>
            </a:pPr>
            <a:r>
              <a:rPr lang="es-ES" sz="1600" b="1" cap="small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5</a:t>
            </a:r>
            <a:endParaRPr lang="es-ES" sz="1600" b="1" cap="small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Rectángulo 2"/>
          <p:cNvSpPr/>
          <p:nvPr/>
        </p:nvSpPr>
        <p:spPr>
          <a:xfrm>
            <a:off x="179512" y="3421859"/>
            <a:ext cx="1310579" cy="12742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200"/>
              </a:lnSpc>
            </a:pPr>
            <a:r>
              <a:rPr lang="es-ES" sz="1400" cap="small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ean</a:t>
            </a:r>
            <a:r>
              <a:rPr lang="es-ES" sz="1400" cap="small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S" sz="1400" cap="small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ergy</a:t>
            </a:r>
            <a:r>
              <a:rPr lang="es-ES" sz="1400" cap="small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S" sz="1400" cap="small" dirty="0" err="1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ertificates</a:t>
            </a:r>
            <a:r>
              <a:rPr lang="es-ES" sz="1400" cap="small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s-ES" sz="1400" cap="small" dirty="0" err="1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Es</a:t>
            </a:r>
            <a:r>
              <a:rPr lang="es-ES" sz="1400" cap="small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s-ES" sz="1400" cap="small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Rectángulo 2"/>
          <p:cNvSpPr/>
          <p:nvPr/>
        </p:nvSpPr>
        <p:spPr>
          <a:xfrm>
            <a:off x="6564741" y="1556792"/>
            <a:ext cx="2399657" cy="32586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200"/>
              </a:lnSpc>
            </a:pPr>
            <a:r>
              <a:rPr lang="es-ES" sz="1600" b="1" cap="small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6</a:t>
            </a:r>
            <a:endParaRPr lang="es-ES" sz="1600" b="1" cap="small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9" name="78 Rectángulo"/>
          <p:cNvSpPr/>
          <p:nvPr/>
        </p:nvSpPr>
        <p:spPr>
          <a:xfrm>
            <a:off x="4086875" y="2013081"/>
            <a:ext cx="2399657" cy="128971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rIns="36000" anchor="ctr" anchorCtr="0">
            <a:noAutofit/>
          </a:bodyPr>
          <a:lstStyle/>
          <a:p>
            <a:pPr marL="9525">
              <a:lnSpc>
                <a:spcPts val="1200"/>
              </a:lnSpc>
            </a:pPr>
            <a:r>
              <a:rPr lang="es-MX" sz="12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holesale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lectricity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rket</a:t>
            </a:r>
            <a:endParaRPr lang="es-MX" sz="1250" cap="smal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82563" indent="-173038">
              <a:lnSpc>
                <a:spcPts val="1200"/>
              </a:lnSpc>
              <a:buFont typeface="Wingdings" panose="05000000000000000000" pitchFamily="2" charset="2"/>
              <a:buChar char="ü"/>
            </a:pP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ublication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f </a:t>
            </a:r>
            <a:r>
              <a:rPr lang="es-MX" sz="12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riteria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feb)</a:t>
            </a:r>
          </a:p>
          <a:p>
            <a:pPr marL="182563" indent="-173038">
              <a:lnSpc>
                <a:spcPts val="1200"/>
              </a:lnSpc>
              <a:buFont typeface="Wingdings" panose="05000000000000000000" pitchFamily="2" charset="2"/>
              <a:buChar char="§"/>
            </a:pP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operational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ules (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jul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182563" indent="-173038">
              <a:lnSpc>
                <a:spcPts val="1200"/>
              </a:lnSpc>
              <a:buFont typeface="Wingdings" panose="05000000000000000000" pitchFamily="2" charset="2"/>
              <a:buChar char="§"/>
            </a:pPr>
            <a:r>
              <a:rPr lang="es-MX" sz="12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formation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ystem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sting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oct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9525">
              <a:lnSpc>
                <a:spcPts val="1200"/>
              </a:lnSpc>
            </a:pP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evelopment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gram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for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lectricity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ower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ystem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jul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s-MX" sz="1250" cap="smal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2" name="Rectángulo 2"/>
          <p:cNvSpPr/>
          <p:nvPr/>
        </p:nvSpPr>
        <p:spPr>
          <a:xfrm>
            <a:off x="198240" y="4788112"/>
            <a:ext cx="1310579" cy="136347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200"/>
              </a:lnSpc>
            </a:pPr>
            <a:r>
              <a:rPr lang="es-ES" sz="1400" cap="small" dirty="0" err="1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othermal</a:t>
            </a:r>
            <a:endParaRPr lang="es-ES" sz="1400" cap="small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ts val="1200"/>
              </a:lnSpc>
            </a:pPr>
            <a:r>
              <a:rPr lang="es-ES" sz="1400" cap="small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ound Zero</a:t>
            </a:r>
            <a:endParaRPr lang="es-ES" sz="1400" cap="small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Rectángulo 2"/>
          <p:cNvSpPr/>
          <p:nvPr/>
        </p:nvSpPr>
        <p:spPr>
          <a:xfrm>
            <a:off x="179512" y="2020798"/>
            <a:ext cx="1310579" cy="127428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200"/>
              </a:lnSpc>
            </a:pPr>
            <a:r>
              <a:rPr lang="es-ES" sz="1400" cap="small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w </a:t>
            </a:r>
            <a:r>
              <a:rPr lang="es-ES" sz="1400" cap="small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lectricity</a:t>
            </a:r>
            <a:r>
              <a:rPr lang="es-ES" sz="1400" cap="small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S" sz="1400" cap="small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</a:t>
            </a:r>
            <a:endParaRPr lang="es-ES" sz="1400" cap="small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24 Rectángulo"/>
          <p:cNvSpPr/>
          <p:nvPr/>
        </p:nvSpPr>
        <p:spPr>
          <a:xfrm>
            <a:off x="4086875" y="3414142"/>
            <a:ext cx="2399657" cy="128971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rIns="36000" anchor="ctr" anchorCtr="0">
            <a:noAutofit/>
          </a:bodyPr>
          <a:lstStyle/>
          <a:p>
            <a:pPr marL="182563" indent="-173038">
              <a:lnSpc>
                <a:spcPts val="1200"/>
              </a:lnSpc>
              <a:buFont typeface="Wingdings" panose="05000000000000000000" pitchFamily="2" charset="2"/>
              <a:buChar char="§"/>
            </a:pPr>
            <a:r>
              <a:rPr lang="en-US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quirements of clean energy by </a:t>
            </a:r>
            <a:r>
              <a:rPr lang="en-US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8 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mar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24" name="23 Rectángulo"/>
          <p:cNvSpPr/>
          <p:nvPr/>
        </p:nvSpPr>
        <p:spPr>
          <a:xfrm>
            <a:off x="1584033" y="3414142"/>
            <a:ext cx="2399657" cy="128971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rIns="36000" anchor="ctr" anchorCtr="0">
            <a:noAutofit/>
          </a:bodyPr>
          <a:lstStyle/>
          <a:p>
            <a:pPr marL="182563" indent="-173038">
              <a:lnSpc>
                <a:spcPts val="1200"/>
              </a:lnSpc>
              <a:buFont typeface="Wingdings" panose="05000000000000000000" pitchFamily="2" charset="2"/>
              <a:buChar char="ü"/>
            </a:pPr>
            <a:r>
              <a:rPr lang="en-US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uidelines 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oct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28" name="27 Rectángulo"/>
          <p:cNvSpPr/>
          <p:nvPr/>
        </p:nvSpPr>
        <p:spPr>
          <a:xfrm>
            <a:off x="4086875" y="4824991"/>
            <a:ext cx="2399657" cy="128971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rIns="36000" anchor="ctr" anchorCtr="0">
            <a:noAutofit/>
          </a:bodyPr>
          <a:lstStyle/>
          <a:p>
            <a:pPr marL="182563" indent="-173038">
              <a:lnSpc>
                <a:spcPts val="1200"/>
              </a:lnSpc>
              <a:buFont typeface="Wingdings" panose="05000000000000000000" pitchFamily="2" charset="2"/>
              <a:buChar char="ü"/>
            </a:pP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CFE </a:t>
            </a:r>
            <a:r>
              <a:rPr lang="es-MX" sz="12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esented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a </a:t>
            </a:r>
            <a:r>
              <a:rPr lang="es-MX" sz="12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quest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eothermal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fields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s-MX" sz="12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an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s-MX" sz="1250" cap="smal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82563" indent="-173038">
              <a:lnSpc>
                <a:spcPts val="1200"/>
              </a:lnSpc>
              <a:buFont typeface="Wingdings" panose="05000000000000000000" pitchFamily="2" charset="2"/>
              <a:buChar char="§"/>
            </a:pPr>
            <a:r>
              <a:rPr lang="es-MX" sz="12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sults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jul)</a:t>
            </a:r>
          </a:p>
          <a:p>
            <a:pPr marL="182563" indent="-173038">
              <a:lnSpc>
                <a:spcPts val="1200"/>
              </a:lnSpc>
              <a:buFont typeface="Wingdings" panose="05000000000000000000" pitchFamily="2" charset="2"/>
              <a:buChar char="§"/>
            </a:pPr>
            <a:r>
              <a:rPr lang="es-MX" sz="1250" cap="small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idding</a:t>
            </a:r>
            <a:r>
              <a:rPr lang="es-MX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f </a:t>
            </a:r>
            <a:r>
              <a:rPr lang="es-MX" sz="12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eothermal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2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elds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s-MX" sz="12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ug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s-MX" sz="1250" cap="smal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28 Rectángulo"/>
          <p:cNvSpPr/>
          <p:nvPr/>
        </p:nvSpPr>
        <p:spPr>
          <a:xfrm>
            <a:off x="6564741" y="2013081"/>
            <a:ext cx="2399657" cy="128971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rIns="36000" anchor="ctr" anchorCtr="0">
            <a:noAutofit/>
          </a:bodyPr>
          <a:lstStyle/>
          <a:p>
            <a:pPr marL="182563" indent="-173038">
              <a:lnSpc>
                <a:spcPts val="1200"/>
              </a:lnSpc>
              <a:buFont typeface="Wingdings" panose="05000000000000000000" pitchFamily="2" charset="2"/>
              <a:buChar char="§"/>
            </a:pPr>
            <a:r>
              <a:rPr lang="en-US" sz="125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Operation of the Wholesale </a:t>
            </a:r>
            <a:r>
              <a:rPr lang="en-US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rket 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s-MX" sz="1250" cap="small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an</a:t>
            </a:r>
            <a:r>
              <a:rPr lang="es-MX" sz="125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s-MX" sz="1250" cap="small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TextBox 10"/>
          <p:cNvSpPr txBox="1"/>
          <p:nvPr/>
        </p:nvSpPr>
        <p:spPr>
          <a:xfrm>
            <a:off x="2339752" y="67271"/>
            <a:ext cx="66247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r">
              <a:defRPr sz="2000" b="1" cap="small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defRPr>
            </a:lvl1pPr>
          </a:lstStyle>
          <a:p>
            <a:pPr algn="ctr"/>
            <a:r>
              <a:rPr lang="en-US" sz="2400" dirty="0"/>
              <a:t>Energy Reform</a:t>
            </a:r>
          </a:p>
          <a:p>
            <a:pPr algn="ctr"/>
            <a:r>
              <a:rPr lang="en-US" b="0" dirty="0" smtClean="0"/>
              <a:t>Power generation</a:t>
            </a:r>
            <a:endParaRPr lang="en-US" sz="1800" b="0" dirty="0" smtClean="0"/>
          </a:p>
        </p:txBody>
      </p:sp>
    </p:spTree>
    <p:extLst>
      <p:ext uri="{BB962C8B-B14F-4D97-AF65-F5344CB8AC3E}">
        <p14:creationId xmlns:p14="http://schemas.microsoft.com/office/powerpoint/2010/main" val="2143097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8995846" y="116632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endParaRPr lang="es-MX" cap="small" dirty="0">
              <a:latin typeface="Times New Roman"/>
              <a:cs typeface="Times New Roman"/>
            </a:endParaRPr>
          </a:p>
        </p:txBody>
      </p:sp>
      <p:sp>
        <p:nvSpPr>
          <p:cNvPr id="32" name="Rectángulo 2"/>
          <p:cNvSpPr/>
          <p:nvPr/>
        </p:nvSpPr>
        <p:spPr>
          <a:xfrm>
            <a:off x="1655163" y="2567596"/>
            <a:ext cx="2391584" cy="135504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700"/>
              </a:lnSpc>
            </a:pPr>
            <a:r>
              <a:rPr lang="es-ES" cap="small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wer</a:t>
            </a:r>
            <a:r>
              <a:rPr lang="es-ES" cap="small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S" cap="small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neration</a:t>
            </a:r>
            <a:endParaRPr lang="es-ES" cap="small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Rectángulo 8"/>
          <p:cNvSpPr/>
          <p:nvPr/>
        </p:nvSpPr>
        <p:spPr>
          <a:xfrm>
            <a:off x="4193648" y="2564904"/>
            <a:ext cx="3041730" cy="6008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700"/>
              </a:lnSpc>
            </a:pPr>
            <a:r>
              <a:rPr lang="es-MX" sz="2000" b="1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3,790</a:t>
            </a:r>
            <a:endParaRPr lang="es-MX" sz="2000" b="1" cap="small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Rectángulo 2"/>
          <p:cNvSpPr/>
          <p:nvPr/>
        </p:nvSpPr>
        <p:spPr>
          <a:xfrm>
            <a:off x="1655164" y="5168526"/>
            <a:ext cx="2391584" cy="4927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700"/>
              </a:lnSpc>
            </a:pPr>
            <a:r>
              <a:rPr lang="es-ES" sz="2000" b="1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tal</a:t>
            </a:r>
            <a:endParaRPr lang="es-ES" sz="2000" b="1" cap="small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Rectángulo 8"/>
          <p:cNvSpPr/>
          <p:nvPr/>
        </p:nvSpPr>
        <p:spPr>
          <a:xfrm>
            <a:off x="4206807" y="5168526"/>
            <a:ext cx="3041730" cy="4927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700"/>
              </a:lnSpc>
            </a:pPr>
            <a:r>
              <a:rPr lang="es-MX" sz="2000" b="1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1,540</a:t>
            </a:r>
            <a:endParaRPr lang="es-MX" sz="2000" b="1" cap="small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Rectángulo 2"/>
          <p:cNvSpPr/>
          <p:nvPr/>
        </p:nvSpPr>
        <p:spPr>
          <a:xfrm>
            <a:off x="1655163" y="4069332"/>
            <a:ext cx="2391584" cy="65581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700"/>
              </a:lnSpc>
            </a:pPr>
            <a:r>
              <a:rPr lang="es-ES" cap="small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tional</a:t>
            </a:r>
            <a:r>
              <a:rPr lang="es-ES" cap="small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S" cap="small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ansmission</a:t>
            </a:r>
            <a:r>
              <a:rPr lang="es-ES" cap="small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S" cap="small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id</a:t>
            </a:r>
            <a:endParaRPr lang="es-ES" cap="small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Rectángulo 8"/>
          <p:cNvSpPr/>
          <p:nvPr/>
        </p:nvSpPr>
        <p:spPr>
          <a:xfrm>
            <a:off x="4193648" y="3287536"/>
            <a:ext cx="3041730" cy="6008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5600" algn="ctr">
              <a:lnSpc>
                <a:spcPts val="1700"/>
              </a:lnSpc>
            </a:pPr>
            <a:r>
              <a:rPr lang="es-MX" sz="2000" b="1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3,300</a:t>
            </a:r>
            <a:r>
              <a:rPr lang="es-MX" sz="1400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sz="1400" cap="small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IE’s</a:t>
            </a:r>
            <a:endParaRPr lang="es-MX" sz="1400" cap="small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Rectángulo 8"/>
          <p:cNvSpPr/>
          <p:nvPr/>
        </p:nvSpPr>
        <p:spPr>
          <a:xfrm>
            <a:off x="4193648" y="4071832"/>
            <a:ext cx="3041730" cy="6533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700"/>
              </a:lnSpc>
            </a:pPr>
            <a:r>
              <a:rPr lang="es-MX" sz="2000" b="1" cap="small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,450</a:t>
            </a:r>
            <a:endParaRPr lang="es-MX" sz="2000" cap="small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5" name="44 Conector recto"/>
          <p:cNvCxnSpPr/>
          <p:nvPr/>
        </p:nvCxnSpPr>
        <p:spPr>
          <a:xfrm flipH="1">
            <a:off x="1271873" y="4941168"/>
            <a:ext cx="6684503" cy="0"/>
          </a:xfrm>
          <a:prstGeom prst="line">
            <a:avLst/>
          </a:prstGeom>
          <a:ln w="38100">
            <a:solidFill>
              <a:srgbClr val="660E0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45 Rectángulo"/>
          <p:cNvSpPr/>
          <p:nvPr/>
        </p:nvSpPr>
        <p:spPr>
          <a:xfrm>
            <a:off x="395536" y="1681450"/>
            <a:ext cx="8208912" cy="4514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lnSpc>
                <a:spcPts val="2800"/>
              </a:lnSpc>
              <a:spcBef>
                <a:spcPct val="20000"/>
              </a:spcBef>
              <a:tabLst>
                <a:tab pos="5475288" algn="l"/>
              </a:tabLst>
            </a:pPr>
            <a:r>
              <a:rPr lang="en-US" sz="2400" b="1" cap="small" dirty="0">
                <a:solidFill>
                  <a:schemeClr val="tx1"/>
                </a:solidFill>
                <a:latin typeface="Times New Roman"/>
                <a:cs typeface="Times New Roman"/>
              </a:rPr>
              <a:t>Estimated total </a:t>
            </a:r>
            <a:r>
              <a:rPr lang="en-US" sz="2400" b="1" cap="small" dirty="0" smtClean="0">
                <a:solidFill>
                  <a:schemeClr val="tx1"/>
                </a:solidFill>
                <a:latin typeface="Times New Roman"/>
                <a:cs typeface="Times New Roman"/>
              </a:rPr>
              <a:t>investment, MMD</a:t>
            </a:r>
            <a:endParaRPr lang="en-US" cap="small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5"/>
          <p:cNvSpPr txBox="1"/>
          <p:nvPr/>
        </p:nvSpPr>
        <p:spPr>
          <a:xfrm>
            <a:off x="8995846" y="116632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endParaRPr lang="es-MX" cap="small" dirty="0">
              <a:latin typeface="Times New Roman"/>
              <a:cs typeface="Times New Roman"/>
            </a:endParaRPr>
          </a:p>
        </p:txBody>
      </p:sp>
      <p:sp>
        <p:nvSpPr>
          <p:cNvPr id="14" name="TextBox 10"/>
          <p:cNvSpPr txBox="1"/>
          <p:nvPr/>
        </p:nvSpPr>
        <p:spPr>
          <a:xfrm>
            <a:off x="2339752" y="67271"/>
            <a:ext cx="66247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r">
              <a:defRPr sz="2000" b="1" cap="small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defRPr>
            </a:lvl1pPr>
          </a:lstStyle>
          <a:p>
            <a:pPr algn="ctr"/>
            <a:r>
              <a:rPr lang="en-US" sz="2400" dirty="0"/>
              <a:t>Energy Reform</a:t>
            </a:r>
          </a:p>
          <a:p>
            <a:pPr algn="ctr"/>
            <a:r>
              <a:rPr lang="en-US" b="0" dirty="0" smtClean="0"/>
              <a:t>Power generation</a:t>
            </a:r>
            <a:endParaRPr lang="en-US" sz="1800" b="0" dirty="0" smtClean="0"/>
          </a:p>
        </p:txBody>
      </p:sp>
    </p:spTree>
    <p:extLst>
      <p:ext uri="{BB962C8B-B14F-4D97-AF65-F5344CB8AC3E}">
        <p14:creationId xmlns:p14="http://schemas.microsoft.com/office/powerpoint/2010/main" val="37180994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953489" y="292586"/>
            <a:ext cx="55810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MX"/>
            </a:defPPr>
            <a:lvl1pPr algn="r">
              <a:defRPr sz="2400" b="1" cap="small">
                <a:latin typeface="Times New Roman"/>
                <a:cs typeface="Times New Roman"/>
              </a:defRPr>
            </a:lvl1pPr>
          </a:lstStyle>
          <a:p>
            <a:pPr algn="ctr"/>
            <a:r>
              <a:rPr lang="es-MX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ational</a:t>
            </a:r>
            <a:r>
              <a:rPr lang="es-MX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s-MX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fraestucture</a:t>
            </a:r>
            <a:r>
              <a:rPr lang="es-MX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s-MX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gram</a:t>
            </a:r>
            <a:r>
              <a:rPr lang="es-MX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2014-2018</a:t>
            </a:r>
            <a:endParaRPr lang="es-MX" sz="2000" b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901428"/>
            <a:ext cx="6624736" cy="411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15 CuadroTexto"/>
          <p:cNvSpPr txBox="1"/>
          <p:nvPr/>
        </p:nvSpPr>
        <p:spPr>
          <a:xfrm>
            <a:off x="323528" y="1244466"/>
            <a:ext cx="8536668" cy="528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lnSpc>
                <a:spcPts val="1700"/>
              </a:lnSpc>
              <a:defRPr cap="small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s-MX" b="1" dirty="0" err="1" smtClean="0"/>
              <a:t>Power</a:t>
            </a:r>
            <a:r>
              <a:rPr lang="es-MX" b="1" dirty="0" smtClean="0"/>
              <a:t> </a:t>
            </a:r>
            <a:r>
              <a:rPr lang="es-MX" b="1" dirty="0" err="1" smtClean="0"/>
              <a:t>Generation</a:t>
            </a:r>
            <a:r>
              <a:rPr lang="es-MX" b="1" dirty="0" smtClean="0"/>
              <a:t>: </a:t>
            </a:r>
            <a:r>
              <a:rPr lang="en-US" b="1" dirty="0"/>
              <a:t>Investment </a:t>
            </a:r>
            <a:r>
              <a:rPr lang="en-US" b="1" dirty="0" smtClean="0"/>
              <a:t>Requirements</a:t>
            </a:r>
            <a:endParaRPr lang="es-MX" b="1" dirty="0"/>
          </a:p>
          <a:p>
            <a:r>
              <a:rPr lang="es-MX" sz="1600" dirty="0" smtClean="0"/>
              <a:t>(</a:t>
            </a:r>
            <a:r>
              <a:rPr lang="es-MX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stimated</a:t>
            </a:r>
            <a:r>
              <a:rPr lang="es-MX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s-MX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otal </a:t>
            </a:r>
            <a:r>
              <a:rPr lang="es-MX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vestment</a:t>
            </a:r>
            <a:r>
              <a:rPr lang="es-MX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: 310.8 miles de millones de pesos)</a:t>
            </a:r>
            <a:endParaRPr lang="es-MX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6300192" y="2422475"/>
            <a:ext cx="2286000" cy="15850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cap="small" dirty="0">
                <a:latin typeface="Times New Roman"/>
                <a:cs typeface="Times New Roman"/>
              </a:rPr>
              <a:t>Estimated total investment </a:t>
            </a:r>
            <a:r>
              <a:rPr lang="es-MX" sz="1100" b="1" cap="small" dirty="0">
                <a:latin typeface="Times New Roman"/>
                <a:cs typeface="Times New Roman"/>
              </a:rPr>
              <a:t>in </a:t>
            </a:r>
            <a:r>
              <a:rPr lang="es-MX" sz="1100" b="1" cap="small" dirty="0" smtClean="0">
                <a:latin typeface="Times New Roman"/>
                <a:cs typeface="Times New Roman"/>
              </a:rPr>
              <a:t>cc </a:t>
            </a:r>
            <a:r>
              <a:rPr lang="es-MX" sz="1100" b="1" cap="small" dirty="0" err="1" smtClean="0">
                <a:latin typeface="Times New Roman"/>
                <a:cs typeface="Times New Roman"/>
              </a:rPr>
              <a:t>projects</a:t>
            </a:r>
            <a:r>
              <a:rPr lang="es-MX" sz="1100" b="1" cap="small" dirty="0" smtClean="0">
                <a:latin typeface="Times New Roman"/>
                <a:cs typeface="Times New Roman"/>
              </a:rPr>
              <a:t> </a:t>
            </a:r>
            <a:r>
              <a:rPr lang="es-MX" sz="1100" b="1" cap="small" dirty="0">
                <a:latin typeface="Times New Roman"/>
                <a:cs typeface="Times New Roman"/>
              </a:rPr>
              <a:t>(97,682 </a:t>
            </a:r>
            <a:r>
              <a:rPr lang="es-MX" sz="1100" b="1" cap="small" dirty="0" err="1">
                <a:latin typeface="Times New Roman"/>
                <a:cs typeface="Times New Roman"/>
              </a:rPr>
              <a:t>mdp</a:t>
            </a:r>
            <a:r>
              <a:rPr lang="es-MX" sz="1100" b="1" cap="small" dirty="0">
                <a:latin typeface="Times New Roman"/>
                <a:cs typeface="Times New Roman"/>
              </a:rPr>
              <a:t>)</a:t>
            </a:r>
          </a:p>
          <a:p>
            <a:endParaRPr lang="es-MX" sz="1100" b="1" cap="small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Noreste (Escobedo)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Norte IV ( Lerdo)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Noroeste (</a:t>
            </a:r>
            <a:r>
              <a:rPr lang="es-MX" sz="800" cap="smal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olobampo</a:t>
            </a:r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II)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. Norte III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. </a:t>
            </a:r>
            <a:r>
              <a:rPr lang="es-MX" sz="800" cap="smal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olobampo</a:t>
            </a:r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III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. Guaymas II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. Guaymas III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. Valle de México II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323528" y="4797152"/>
            <a:ext cx="3096344" cy="18543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cap="small" dirty="0" smtClean="0">
                <a:latin typeface="Times New Roman"/>
                <a:cs typeface="Times New Roman"/>
              </a:rPr>
              <a:t>Estimated </a:t>
            </a:r>
            <a:r>
              <a:rPr lang="en-US" sz="1200" b="1" cap="small" dirty="0">
                <a:latin typeface="Times New Roman"/>
                <a:cs typeface="Times New Roman"/>
              </a:rPr>
              <a:t>total </a:t>
            </a:r>
            <a:r>
              <a:rPr lang="en-US" sz="1200" b="1" cap="small" dirty="0" smtClean="0">
                <a:latin typeface="Times New Roman"/>
                <a:cs typeface="Times New Roman"/>
              </a:rPr>
              <a:t>investment in Renewables</a:t>
            </a:r>
            <a:r>
              <a:rPr lang="es-MX" sz="1200" b="1" cap="small" dirty="0" smtClean="0">
                <a:latin typeface="Times New Roman"/>
                <a:cs typeface="Times New Roman"/>
              </a:rPr>
              <a:t> </a:t>
            </a:r>
            <a:r>
              <a:rPr lang="es-MX" sz="1200" b="1" cap="small" dirty="0" err="1" smtClean="0">
                <a:latin typeface="Times New Roman"/>
                <a:cs typeface="Times New Roman"/>
              </a:rPr>
              <a:t>projects</a:t>
            </a:r>
            <a:r>
              <a:rPr lang="es-MX" sz="1200" b="1" cap="small" dirty="0" smtClean="0">
                <a:latin typeface="Times New Roman"/>
                <a:cs typeface="Times New Roman"/>
              </a:rPr>
              <a:t> (99,669 </a:t>
            </a:r>
            <a:r>
              <a:rPr lang="es-MX" sz="1200" b="1" cap="small" dirty="0" err="1">
                <a:latin typeface="Times New Roman"/>
                <a:cs typeface="Times New Roman"/>
              </a:rPr>
              <a:t>mdp</a:t>
            </a:r>
            <a:r>
              <a:rPr lang="es-MX" sz="1200" b="1" cap="small" dirty="0">
                <a:latin typeface="Times New Roman"/>
                <a:cs typeface="Times New Roman"/>
              </a:rPr>
              <a:t>)</a:t>
            </a:r>
          </a:p>
          <a:p>
            <a:endParaRPr lang="es-MX" sz="1050" b="1" cap="small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8900" lvl="1"/>
            <a:r>
              <a:rPr lang="es-MX" sz="800" cap="smal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</a:t>
            </a:r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Guerrero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Paso de la Reina, Oaxaca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. Central Eólica (capacidades 296 MW y 281 MW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. Pequeño Productor Solar (30MW)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. Mexicali I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. Las Cruces 240 MW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. Azufres (Fase I y Fase II) y Cerritos Colorados (Fase I)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entral hidroeléctrica </a:t>
            </a:r>
            <a:r>
              <a:rPr lang="es-MX" sz="800" cap="smal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coasén</a:t>
            </a:r>
            <a:endParaRPr lang="es-MX" sz="800" cap="small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entral Eólica Sureste II</a:t>
            </a:r>
          </a:p>
          <a:p>
            <a:pPr marL="88900" lvl="1"/>
            <a:r>
              <a:rPr lang="es-MX" sz="800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entrales Eólicas Sureste III, IV y V</a:t>
            </a:r>
          </a:p>
        </p:txBody>
      </p:sp>
    </p:spTree>
    <p:extLst>
      <p:ext uri="{BB962C8B-B14F-4D97-AF65-F5344CB8AC3E}">
        <p14:creationId xmlns:p14="http://schemas.microsoft.com/office/powerpoint/2010/main" val="7928085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278550" y="1196752"/>
            <a:ext cx="8581646" cy="528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ctr">
              <a:lnSpc>
                <a:spcPts val="1700"/>
              </a:lnSpc>
              <a:defRPr cap="small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b="1" dirty="0" smtClean="0"/>
              <a:t>Power sector: transmission </a:t>
            </a:r>
            <a:r>
              <a:rPr lang="en-US" b="1" dirty="0"/>
              <a:t>and </a:t>
            </a:r>
            <a:r>
              <a:rPr lang="en-US" b="1" dirty="0" smtClean="0"/>
              <a:t>distribution</a:t>
            </a:r>
          </a:p>
          <a:p>
            <a:r>
              <a:rPr lang="es-MX" sz="1600" dirty="0" smtClean="0"/>
              <a:t>(</a:t>
            </a:r>
            <a:r>
              <a:rPr lang="es-MX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stimated</a:t>
            </a:r>
            <a:r>
              <a:rPr lang="es-MX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Total </a:t>
            </a:r>
            <a:r>
              <a:rPr lang="es-MX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vestment</a:t>
            </a:r>
            <a:r>
              <a:rPr lang="es-MX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: 247.2 miles de millones de pesos)</a:t>
            </a:r>
            <a:endParaRPr lang="es-MX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9" name="8 Grupo"/>
          <p:cNvGrpSpPr/>
          <p:nvPr/>
        </p:nvGrpSpPr>
        <p:grpSpPr>
          <a:xfrm>
            <a:off x="1043609" y="1844824"/>
            <a:ext cx="6768751" cy="4320480"/>
            <a:chOff x="1043609" y="1844824"/>
            <a:chExt cx="6768751" cy="4320480"/>
          </a:xfrm>
        </p:grpSpPr>
        <p:grpSp>
          <p:nvGrpSpPr>
            <p:cNvPr id="17" name="16 Grupo"/>
            <p:cNvGrpSpPr/>
            <p:nvPr/>
          </p:nvGrpSpPr>
          <p:grpSpPr>
            <a:xfrm>
              <a:off x="1043609" y="1844824"/>
              <a:ext cx="6768751" cy="4320480"/>
              <a:chOff x="467545" y="597477"/>
              <a:chExt cx="7771869" cy="5305371"/>
            </a:xfrm>
          </p:grpSpPr>
          <p:pic>
            <p:nvPicPr>
              <p:cNvPr id="19" name="Picture 2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7545" y="597477"/>
                <a:ext cx="7771869" cy="5256226"/>
              </a:xfrm>
              <a:prstGeom prst="rect">
                <a:avLst/>
              </a:prstGeom>
              <a:solidFill>
                <a:schemeClr val="bg1"/>
              </a:solidFill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19 CuadroTexto"/>
              <p:cNvSpPr txBox="1"/>
              <p:nvPr/>
            </p:nvSpPr>
            <p:spPr>
              <a:xfrm>
                <a:off x="611561" y="5575024"/>
                <a:ext cx="1559023" cy="210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MX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1.  Distribución Valle de México </a:t>
                </a:r>
                <a:endParaRPr lang="es-MX" sz="7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" name="20 CuadroTexto"/>
              <p:cNvSpPr txBox="1"/>
              <p:nvPr/>
            </p:nvSpPr>
            <p:spPr>
              <a:xfrm>
                <a:off x="611561" y="5692627"/>
                <a:ext cx="1905050" cy="210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MX" sz="75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2.  Distribución Valle de México (2ª fase) </a:t>
                </a:r>
                <a:endParaRPr lang="es-MX" sz="7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22" name="21 Grupo"/>
              <p:cNvGrpSpPr/>
              <p:nvPr/>
            </p:nvGrpSpPr>
            <p:grpSpPr>
              <a:xfrm>
                <a:off x="5076057" y="4169013"/>
                <a:ext cx="512717" cy="270105"/>
                <a:chOff x="3419872" y="5805264"/>
                <a:chExt cx="512717" cy="270105"/>
              </a:xfrm>
            </p:grpSpPr>
            <p:sp>
              <p:nvSpPr>
                <p:cNvPr id="30" name="29 Elipse"/>
                <p:cNvSpPr/>
                <p:nvPr/>
              </p:nvSpPr>
              <p:spPr>
                <a:xfrm>
                  <a:off x="3491880" y="5853716"/>
                  <a:ext cx="108000" cy="108000"/>
                </a:xfrm>
                <a:prstGeom prst="ellipse">
                  <a:avLst/>
                </a:prstGeom>
                <a:ln w="12700"/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MX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1" name="30 Rectángulo"/>
                <p:cNvSpPr/>
                <p:nvPr/>
              </p:nvSpPr>
              <p:spPr>
                <a:xfrm>
                  <a:off x="3428561" y="5961716"/>
                  <a:ext cx="252000" cy="54000"/>
                </a:xfrm>
                <a:prstGeom prst="rect">
                  <a:avLst/>
                </a:prstGeom>
                <a:ln w="12700"/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MX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2" name="31 CuadroTexto"/>
                <p:cNvSpPr txBox="1"/>
                <p:nvPr/>
              </p:nvSpPr>
              <p:spPr>
                <a:xfrm>
                  <a:off x="3419872" y="5805264"/>
                  <a:ext cx="504055" cy="1712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MX" sz="500" b="1" dirty="0" smtClean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0</a:t>
                  </a:r>
                  <a:endParaRPr lang="es-MX" sz="5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3" name="32 CuadroTexto"/>
                <p:cNvSpPr txBox="1"/>
                <p:nvPr/>
              </p:nvSpPr>
              <p:spPr>
                <a:xfrm>
                  <a:off x="3428533" y="5904077"/>
                  <a:ext cx="504056" cy="1712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MX" sz="500" b="1" dirty="0" smtClean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4</a:t>
                  </a:r>
                  <a:endParaRPr lang="es-MX" sz="5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23" name="22 Grupo"/>
              <p:cNvGrpSpPr/>
              <p:nvPr/>
            </p:nvGrpSpPr>
            <p:grpSpPr>
              <a:xfrm>
                <a:off x="5220073" y="3979795"/>
                <a:ext cx="506795" cy="275494"/>
                <a:chOff x="3417133" y="5805264"/>
                <a:chExt cx="506795" cy="275495"/>
              </a:xfrm>
            </p:grpSpPr>
            <p:sp>
              <p:nvSpPr>
                <p:cNvPr id="26" name="25 Elipse"/>
                <p:cNvSpPr/>
                <p:nvPr/>
              </p:nvSpPr>
              <p:spPr>
                <a:xfrm>
                  <a:off x="3491880" y="5853716"/>
                  <a:ext cx="108000" cy="108000"/>
                </a:xfrm>
                <a:prstGeom prst="ellipse">
                  <a:avLst/>
                </a:prstGeom>
                <a:ln w="12700"/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MX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7" name="26 Rectángulo"/>
                <p:cNvSpPr/>
                <p:nvPr/>
              </p:nvSpPr>
              <p:spPr>
                <a:xfrm>
                  <a:off x="3428561" y="5968993"/>
                  <a:ext cx="252000" cy="54000"/>
                </a:xfrm>
                <a:prstGeom prst="rect">
                  <a:avLst/>
                </a:prstGeom>
                <a:ln w="12700"/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MX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8" name="27 CuadroTexto"/>
                <p:cNvSpPr txBox="1"/>
                <p:nvPr/>
              </p:nvSpPr>
              <p:spPr>
                <a:xfrm>
                  <a:off x="3419872" y="5805264"/>
                  <a:ext cx="504056" cy="1712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MX" sz="500" b="1" dirty="0" smtClean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0</a:t>
                  </a:r>
                  <a:endParaRPr lang="es-MX" sz="5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9" name="28 CuadroTexto"/>
                <p:cNvSpPr txBox="1"/>
                <p:nvPr/>
              </p:nvSpPr>
              <p:spPr>
                <a:xfrm>
                  <a:off x="3417133" y="5909467"/>
                  <a:ext cx="504056" cy="1712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MX" sz="5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6</a:t>
                  </a:r>
                </a:p>
              </p:txBody>
            </p:sp>
          </p:grpSp>
          <p:sp>
            <p:nvSpPr>
              <p:cNvPr id="24" name="23 CuadroTexto"/>
              <p:cNvSpPr txBox="1"/>
              <p:nvPr/>
            </p:nvSpPr>
            <p:spPr>
              <a:xfrm>
                <a:off x="4932042" y="4149071"/>
                <a:ext cx="416779" cy="210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MX" sz="750" b="1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1</a:t>
                </a:r>
                <a:endParaRPr lang="es-MX" sz="75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" name="24 CuadroTexto"/>
              <p:cNvSpPr txBox="1"/>
              <p:nvPr/>
            </p:nvSpPr>
            <p:spPr>
              <a:xfrm>
                <a:off x="5076056" y="3941331"/>
                <a:ext cx="504056" cy="210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MX" sz="750" b="1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2</a:t>
                </a:r>
                <a:endParaRPr lang="es-MX" sz="75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2" name="11 CuadroTexto"/>
            <p:cNvSpPr txBox="1"/>
            <p:nvPr/>
          </p:nvSpPr>
          <p:spPr>
            <a:xfrm>
              <a:off x="1522263" y="3985319"/>
              <a:ext cx="1372799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s-MX" sz="7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bestaciones Eléctricas</a:t>
              </a:r>
            </a:p>
            <a:p>
              <a:r>
                <a:rPr lang="es-MX" sz="7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íneas de distribución</a:t>
              </a:r>
              <a:endParaRPr lang="es-MX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3" name="12 Grupo"/>
            <p:cNvGrpSpPr/>
            <p:nvPr/>
          </p:nvGrpSpPr>
          <p:grpSpPr>
            <a:xfrm>
              <a:off x="1403648" y="4033740"/>
              <a:ext cx="216024" cy="167963"/>
              <a:chOff x="467544" y="1628800"/>
              <a:chExt cx="216024" cy="167963"/>
            </a:xfrm>
          </p:grpSpPr>
          <p:sp>
            <p:nvSpPr>
              <p:cNvPr id="14" name="13 Elipse"/>
              <p:cNvSpPr/>
              <p:nvPr/>
            </p:nvSpPr>
            <p:spPr>
              <a:xfrm>
                <a:off x="539552" y="1628800"/>
                <a:ext cx="72008" cy="96302"/>
              </a:xfrm>
              <a:prstGeom prst="ellipse">
                <a:avLst/>
              </a:prstGeom>
              <a:ln w="9525"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15" name="14 Rectángulo"/>
              <p:cNvSpPr/>
              <p:nvPr/>
            </p:nvSpPr>
            <p:spPr>
              <a:xfrm>
                <a:off x="467544" y="1751044"/>
                <a:ext cx="216024" cy="45719"/>
              </a:xfrm>
              <a:prstGeom prst="rect">
                <a:avLst/>
              </a:prstGeom>
              <a:ln w="9525"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</p:grpSp>
      </p:grpSp>
      <p:sp>
        <p:nvSpPr>
          <p:cNvPr id="34" name="33 CuadroTexto"/>
          <p:cNvSpPr txBox="1"/>
          <p:nvPr/>
        </p:nvSpPr>
        <p:spPr>
          <a:xfrm>
            <a:off x="2953489" y="292586"/>
            <a:ext cx="55810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MX"/>
            </a:defPPr>
            <a:lvl1pPr algn="r">
              <a:defRPr sz="2400" b="1" cap="small">
                <a:latin typeface="Times New Roman"/>
                <a:cs typeface="Times New Roman"/>
              </a:defRPr>
            </a:lvl1pPr>
          </a:lstStyle>
          <a:p>
            <a:pPr algn="ctr"/>
            <a:r>
              <a:rPr lang="es-MX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ational</a:t>
            </a:r>
            <a:r>
              <a:rPr lang="es-MX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s-MX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fraestucture</a:t>
            </a:r>
            <a:r>
              <a:rPr lang="es-MX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s-MX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gram</a:t>
            </a:r>
            <a:r>
              <a:rPr lang="es-MX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2014-2018</a:t>
            </a:r>
            <a:endParaRPr lang="es-MX" sz="2000" b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9713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0"/>
          <p:cNvSpPr txBox="1"/>
          <p:nvPr/>
        </p:nvSpPr>
        <p:spPr>
          <a:xfrm>
            <a:off x="2339752" y="159604"/>
            <a:ext cx="662473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r">
              <a:defRPr sz="2000" b="1" cap="small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defRPr>
            </a:lvl1pPr>
          </a:lstStyle>
          <a:p>
            <a:pPr algn="ctr"/>
            <a:r>
              <a:rPr lang="en-US" dirty="0" smtClean="0"/>
              <a:t>Clean </a:t>
            </a:r>
            <a:r>
              <a:rPr lang="en-US" dirty="0"/>
              <a:t>power </a:t>
            </a:r>
            <a:r>
              <a:rPr lang="en-US" dirty="0" smtClean="0"/>
              <a:t>generation</a:t>
            </a:r>
          </a:p>
          <a:p>
            <a:pPr algn="ctr"/>
            <a:r>
              <a:rPr lang="en-US" sz="1800" b="0" dirty="0"/>
              <a:t>National </a:t>
            </a:r>
            <a:r>
              <a:rPr lang="en-US" sz="1800" b="0" dirty="0" smtClean="0"/>
              <a:t>target / Certificates</a:t>
            </a:r>
            <a:endParaRPr lang="en-US" sz="1800" b="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940024"/>
            <a:ext cx="6153150" cy="350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15 CuadroTexto"/>
          <p:cNvSpPr txBox="1"/>
          <p:nvPr/>
        </p:nvSpPr>
        <p:spPr>
          <a:xfrm>
            <a:off x="6579839" y="1988840"/>
            <a:ext cx="23126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cap="smal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ean</a:t>
            </a:r>
            <a:r>
              <a:rPr lang="es-MX" b="1" cap="smal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es-MX" b="1" cap="smal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ergy</a:t>
            </a:r>
            <a:r>
              <a:rPr lang="es-MX" b="1" cap="smal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es-MX" b="1" cap="smal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ertificates</a:t>
            </a:r>
            <a:endParaRPr lang="es-MX" b="1" cap="small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6548687" y="3717032"/>
            <a:ext cx="19837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cap="smal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ergy</a:t>
            </a:r>
            <a:r>
              <a:rPr lang="es-MX" b="1" cap="smal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b="1" cap="smal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ld</a:t>
            </a:r>
            <a:r>
              <a:rPr lang="es-MX" b="1" cap="smal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es-MX" b="1" cap="smal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</a:t>
            </a:r>
            <a:r>
              <a:rPr lang="es-MX" b="1" cap="smal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es-MX" b="1" cap="smal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b="1" cap="smal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lectric</a:t>
            </a:r>
            <a:r>
              <a:rPr lang="es-MX" b="1" cap="smal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MX" b="1" cap="smal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rket</a:t>
            </a:r>
            <a:endParaRPr lang="es-MX" b="1" cap="small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4 Marcador de pie de página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03113" y="6597352"/>
            <a:ext cx="5260975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r>
              <a:rPr lang="en-US" sz="900" cap="small" dirty="0" smtClean="0">
                <a:latin typeface="Times New Roman" pitchFamily="18" charset="0"/>
                <a:cs typeface="Times New Roman" pitchFamily="18" charset="0"/>
              </a:rPr>
              <a:t>Source: </a:t>
            </a:r>
            <a:r>
              <a:rPr lang="es-MX" sz="900" cap="small" dirty="0" smtClean="0">
                <a:latin typeface="Times New Roman" pitchFamily="18" charset="0"/>
                <a:cs typeface="Times New Roman" pitchFamily="18" charset="0"/>
              </a:rPr>
              <a:t>SENER, </a:t>
            </a:r>
            <a:r>
              <a:rPr lang="es-MX" sz="900" cap="small" dirty="0">
                <a:latin typeface="Times New Roman" pitchFamily="18" charset="0"/>
                <a:cs typeface="Times New Roman" pitchFamily="18" charset="0"/>
              </a:rPr>
              <a:t>. Prospectiva de Energía Renovables 2014-2028</a:t>
            </a:r>
          </a:p>
        </p:txBody>
      </p:sp>
    </p:spTree>
    <p:extLst>
      <p:ext uri="{BB962C8B-B14F-4D97-AF65-F5344CB8AC3E}">
        <p14:creationId xmlns:p14="http://schemas.microsoft.com/office/powerpoint/2010/main" val="3321446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721321"/>
            <a:ext cx="7896225" cy="437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uadroTexto 4"/>
          <p:cNvSpPr txBox="1"/>
          <p:nvPr/>
        </p:nvSpPr>
        <p:spPr>
          <a:xfrm>
            <a:off x="578117" y="1577117"/>
            <a:ext cx="8563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 smtClean="0">
                <a:solidFill>
                  <a:schemeClr val="bg1">
                    <a:lumMod val="65000"/>
                  </a:schemeClr>
                </a:solidFill>
              </a:rPr>
              <a:t>GW/</a:t>
            </a:r>
            <a:r>
              <a:rPr lang="es-ES" sz="1400" b="1" dirty="0" err="1" smtClean="0">
                <a:solidFill>
                  <a:schemeClr val="bg1">
                    <a:lumMod val="65000"/>
                  </a:schemeClr>
                </a:solidFill>
              </a:rPr>
              <a:t>year</a:t>
            </a:r>
            <a:endParaRPr lang="es-ES" sz="1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1691680" y="3541078"/>
            <a:ext cx="4996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b="1" dirty="0">
                <a:solidFill>
                  <a:srgbClr val="008000"/>
                </a:solidFill>
              </a:rPr>
              <a:t>4</a:t>
            </a:r>
            <a:r>
              <a:rPr lang="es-ES" sz="2400" b="1" dirty="0" smtClean="0">
                <a:solidFill>
                  <a:srgbClr val="008000"/>
                </a:solidFill>
              </a:rPr>
              <a:t>x</a:t>
            </a:r>
            <a:endParaRPr lang="es-ES" sz="2400" b="1" dirty="0">
              <a:solidFill>
                <a:srgbClr val="008000"/>
              </a:solidFill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2843808" y="3541078"/>
            <a:ext cx="4996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b="1" dirty="0" smtClean="0">
                <a:solidFill>
                  <a:srgbClr val="008000"/>
                </a:solidFill>
              </a:rPr>
              <a:t>2x</a:t>
            </a:r>
            <a:endParaRPr lang="es-ES" sz="2400" b="1" dirty="0">
              <a:solidFill>
                <a:srgbClr val="008000"/>
              </a:solidFill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7339097" y="3757102"/>
            <a:ext cx="8216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smtClean="0">
                <a:solidFill>
                  <a:srgbClr val="008000"/>
                </a:solidFill>
              </a:rPr>
              <a:t>+18%</a:t>
            </a:r>
            <a:endParaRPr lang="es-ES" sz="2000" b="1" dirty="0">
              <a:solidFill>
                <a:srgbClr val="008000"/>
              </a:solidFill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6114961" y="1412776"/>
            <a:ext cx="8216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smtClean="0">
                <a:solidFill>
                  <a:srgbClr val="008000"/>
                </a:solidFill>
              </a:rPr>
              <a:t>+16%</a:t>
            </a:r>
            <a:endParaRPr lang="es-ES" sz="2000" b="1" dirty="0">
              <a:solidFill>
                <a:srgbClr val="008000"/>
              </a:solidFill>
            </a:endParaRPr>
          </a:p>
        </p:txBody>
      </p:sp>
      <p:sp>
        <p:nvSpPr>
          <p:cNvPr id="19" name="CuadroTexto 18"/>
          <p:cNvSpPr txBox="1"/>
          <p:nvPr/>
        </p:nvSpPr>
        <p:spPr>
          <a:xfrm>
            <a:off x="4953273" y="1412776"/>
            <a:ext cx="8216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smtClean="0">
                <a:solidFill>
                  <a:srgbClr val="008000"/>
                </a:solidFill>
              </a:rPr>
              <a:t>+28%</a:t>
            </a:r>
            <a:endParaRPr lang="es-ES" sz="2000" b="1" dirty="0">
              <a:solidFill>
                <a:srgbClr val="008000"/>
              </a:solidFill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3851920" y="3541078"/>
            <a:ext cx="8552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smtClean="0">
                <a:solidFill>
                  <a:srgbClr val="008000"/>
                </a:solidFill>
              </a:rPr>
              <a:t>(+1%)</a:t>
            </a:r>
            <a:endParaRPr lang="es-ES" sz="2000" b="1" dirty="0">
              <a:solidFill>
                <a:srgbClr val="008000"/>
              </a:solidFill>
            </a:endParaRPr>
          </a:p>
        </p:txBody>
      </p:sp>
      <p:sp>
        <p:nvSpPr>
          <p:cNvPr id="14" name="TextBox 10"/>
          <p:cNvSpPr txBox="1"/>
          <p:nvPr/>
        </p:nvSpPr>
        <p:spPr>
          <a:xfrm>
            <a:off x="2339752" y="159604"/>
            <a:ext cx="662473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algn="r">
              <a:defRPr sz="2000" b="1" cap="small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cs typeface="Times New Roman"/>
              </a:defRPr>
            </a:lvl1pPr>
          </a:lstStyle>
          <a:p>
            <a:pPr algn="ctr"/>
            <a:r>
              <a:rPr lang="en-US" dirty="0" smtClean="0"/>
              <a:t>Renewable energy</a:t>
            </a:r>
          </a:p>
          <a:p>
            <a:pPr algn="ctr"/>
            <a:r>
              <a:rPr lang="en-US" sz="1800" b="0" dirty="0" smtClean="0"/>
              <a:t>Estimated power generation, 2028</a:t>
            </a:r>
            <a:endParaRPr lang="en-US" sz="1800" b="0" dirty="0"/>
          </a:p>
        </p:txBody>
      </p:sp>
      <p:sp>
        <p:nvSpPr>
          <p:cNvPr id="15" name="4 Marcador de pie de página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03113" y="6597352"/>
            <a:ext cx="5260975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r>
              <a:rPr lang="en-US" sz="900" cap="small" dirty="0" smtClean="0">
                <a:latin typeface="Times New Roman" pitchFamily="18" charset="0"/>
                <a:cs typeface="Times New Roman" pitchFamily="18" charset="0"/>
              </a:rPr>
              <a:t>Source: </a:t>
            </a:r>
            <a:r>
              <a:rPr lang="es-MX" sz="900" cap="small" dirty="0" smtClean="0">
                <a:latin typeface="Times New Roman" pitchFamily="18" charset="0"/>
                <a:cs typeface="Times New Roman" pitchFamily="18" charset="0"/>
              </a:rPr>
              <a:t>SENER, </a:t>
            </a:r>
            <a:r>
              <a:rPr lang="es-MX" sz="900" cap="small" dirty="0">
                <a:latin typeface="Times New Roman" pitchFamily="18" charset="0"/>
                <a:cs typeface="Times New Roman" pitchFamily="18" charset="0"/>
              </a:rPr>
              <a:t>. Prospectiva de Energía Renovables 2014-2028</a:t>
            </a:r>
          </a:p>
        </p:txBody>
      </p:sp>
    </p:spTree>
    <p:extLst>
      <p:ext uri="{BB962C8B-B14F-4D97-AF65-F5344CB8AC3E}">
        <p14:creationId xmlns:p14="http://schemas.microsoft.com/office/powerpoint/2010/main" val="2329171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QGuvzLV0COmhm7KF2I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QGuvzLV0COmhm7KF2I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QGuvzLV0COmhm7KF2I8g"/>
</p:tagLst>
</file>

<file path=ppt/theme/theme1.xml><?xml version="1.0" encoding="utf-8"?>
<a:theme xmlns:a="http://schemas.openxmlformats.org/drawingml/2006/main" name="SENER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88</TotalTime>
  <Words>747</Words>
  <Application>Microsoft Macintosh PowerPoint</Application>
  <PresentationFormat>On-screen Show (4:3)</PresentationFormat>
  <Paragraphs>171</Paragraphs>
  <Slides>11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SENER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SENER</dc:creator>
  <cp:lastModifiedBy>Hector  Castro</cp:lastModifiedBy>
  <cp:revision>756</cp:revision>
  <cp:lastPrinted>2015-04-13T19:26:07Z</cp:lastPrinted>
  <dcterms:created xsi:type="dcterms:W3CDTF">2013-08-14T00:01:32Z</dcterms:created>
  <dcterms:modified xsi:type="dcterms:W3CDTF">2015-04-27T00:14:05Z</dcterms:modified>
</cp:coreProperties>
</file>